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0"/>
  </p:notesMasterIdLst>
  <p:sldIdLst>
    <p:sldId id="328" r:id="rId5"/>
    <p:sldId id="705" r:id="rId6"/>
    <p:sldId id="706" r:id="rId7"/>
    <p:sldId id="707" r:id="rId8"/>
    <p:sldId id="708" r:id="rId9"/>
    <p:sldId id="709" r:id="rId10"/>
    <p:sldId id="710" r:id="rId11"/>
    <p:sldId id="711" r:id="rId12"/>
    <p:sldId id="712" r:id="rId13"/>
    <p:sldId id="713" r:id="rId14"/>
    <p:sldId id="714" r:id="rId15"/>
    <p:sldId id="715" r:id="rId16"/>
    <p:sldId id="716" r:id="rId17"/>
    <p:sldId id="717" r:id="rId18"/>
    <p:sldId id="718" r:id="rId19"/>
    <p:sldId id="420" r:id="rId20"/>
    <p:sldId id="431" r:id="rId21"/>
    <p:sldId id="422" r:id="rId22"/>
    <p:sldId id="725" r:id="rId23"/>
    <p:sldId id="720" r:id="rId24"/>
    <p:sldId id="721" r:id="rId25"/>
    <p:sldId id="722" r:id="rId26"/>
    <p:sldId id="723" r:id="rId27"/>
    <p:sldId id="724" r:id="rId28"/>
    <p:sldId id="283" r:id="rId29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lgemein" id="{C67390B7-E948-432E-BA79-F1FE85A56B5A}">
          <p14:sldIdLst>
            <p14:sldId id="328"/>
          </p14:sldIdLst>
        </p14:section>
        <p14:section name="Datengrundlage, Annahmen und Übersicht" id="{341E939C-5F51-46EE-BEB0-0C74C33024E5}">
          <p14:sldIdLst>
            <p14:sldId id="705"/>
            <p14:sldId id="706"/>
            <p14:sldId id="707"/>
          </p14:sldIdLst>
        </p14:section>
        <p14:section name="Kundenauftragsstruktur" id="{D22A25A6-D901-4886-A50D-8D8ABD9B9F8C}">
          <p14:sldIdLst>
            <p14:sldId id="708"/>
          </p14:sldIdLst>
        </p14:section>
        <p14:section name="Durchsatzkennzahlen" id="{60D148BB-C182-4058-B4A8-3ECEB586C9F4}">
          <p14:sldIdLst>
            <p14:sldId id="709"/>
            <p14:sldId id="710"/>
            <p14:sldId id="711"/>
            <p14:sldId id="712"/>
            <p14:sldId id="713"/>
            <p14:sldId id="714"/>
            <p14:sldId id="715"/>
            <p14:sldId id="716"/>
            <p14:sldId id="717"/>
            <p14:sldId id="718"/>
          </p14:sldIdLst>
        </p14:section>
        <p14:section name="ABC-XYZ-Analyse" id="{C89F63BE-F861-407C-BFCC-04B2C5E70A41}">
          <p14:sldIdLst>
            <p14:sldId id="420"/>
            <p14:sldId id="431"/>
            <p14:sldId id="422"/>
          </p14:sldIdLst>
        </p14:section>
        <p14:section name="Bestandsdimensionierung" id="{4DF2E3B1-5BB6-4884-9756-E55493D09F6C}">
          <p14:sldIdLst>
            <p14:sldId id="725"/>
            <p14:sldId id="720"/>
            <p14:sldId id="721"/>
            <p14:sldId id="722"/>
            <p14:sldId id="723"/>
            <p14:sldId id="724"/>
            <p14:sldId id="28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7BCE181-120A-0211-4A8E-5ED6EEB34BD6}" name="Zuber, Friederike" initials="ZF" userId="S::f.zuber@gebhardt-group.com::c9ab0a74-ff6a-4998-bd4e-e791c23f92d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bhardt, Marco" initials="GM" lastIdx="10" clrIdx="0">
    <p:extLst>
      <p:ext uri="{19B8F6BF-5375-455C-9EA6-DF929625EA0E}">
        <p15:presenceInfo xmlns:p15="http://schemas.microsoft.com/office/powerpoint/2012/main" userId="S::m.gebhardt@gebhardt-group.com::686d4e13-ae02-4518-9c51-d3c5704591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1E1"/>
    <a:srgbClr val="788287"/>
    <a:srgbClr val="FFFFFF"/>
    <a:srgbClr val="E20B23"/>
    <a:srgbClr val="465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2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chanka, Eugen" userId="e4e12248-2210-4459-89e3-acb2dd10c338" providerId="ADAL" clId="{B43E1DAA-D1B3-4D0B-AEC5-363FA5BB253D}"/>
    <pc:docChg chg="undo redo custSel addSld modSld sldOrd">
      <pc:chgData name="Ischanka, Eugen" userId="e4e12248-2210-4459-89e3-acb2dd10c338" providerId="ADAL" clId="{B43E1DAA-D1B3-4D0B-AEC5-363FA5BB253D}" dt="2023-12-18T10:35:13.577" v="1366" actId="478"/>
      <pc:docMkLst>
        <pc:docMk/>
      </pc:docMkLst>
      <pc:sldChg chg="modSp mod">
        <pc:chgData name="Ischanka, Eugen" userId="e4e12248-2210-4459-89e3-acb2dd10c338" providerId="ADAL" clId="{B43E1DAA-D1B3-4D0B-AEC5-363FA5BB253D}" dt="2023-12-15T10:14:16.793" v="3" actId="20577"/>
        <pc:sldMkLst>
          <pc:docMk/>
          <pc:sldMk cId="460441520" sldId="342"/>
        </pc:sldMkLst>
        <pc:spChg chg="mod">
          <ac:chgData name="Ischanka, Eugen" userId="e4e12248-2210-4459-89e3-acb2dd10c338" providerId="ADAL" clId="{B43E1DAA-D1B3-4D0B-AEC5-363FA5BB253D}" dt="2023-12-15T10:14:16.793" v="3" actId="20577"/>
          <ac:spMkLst>
            <pc:docMk/>
            <pc:sldMk cId="460441520" sldId="342"/>
            <ac:spMk id="7" creationId="{78552B08-C9A8-87DD-E16E-38294C43DF3D}"/>
          </ac:spMkLst>
        </pc:spChg>
      </pc:sldChg>
      <pc:sldChg chg="addSp delSp modSp mod">
        <pc:chgData name="Ischanka, Eugen" userId="e4e12248-2210-4459-89e3-acb2dd10c338" providerId="ADAL" clId="{B43E1DAA-D1B3-4D0B-AEC5-363FA5BB253D}" dt="2023-12-18T10:25:42.154" v="1232" actId="478"/>
        <pc:sldMkLst>
          <pc:docMk/>
          <pc:sldMk cId="2920645228" sldId="347"/>
        </pc:sldMkLst>
        <pc:spChg chg="del mod">
          <ac:chgData name="Ischanka, Eugen" userId="e4e12248-2210-4459-89e3-acb2dd10c338" providerId="ADAL" clId="{B43E1DAA-D1B3-4D0B-AEC5-363FA5BB253D}" dt="2023-12-18T10:25:42.154" v="1232" actId="478"/>
          <ac:spMkLst>
            <pc:docMk/>
            <pc:sldMk cId="2920645228" sldId="347"/>
            <ac:spMk id="5" creationId="{2AB372AC-8CA4-2D36-DABB-6A4FD09883C8}"/>
          </ac:spMkLst>
        </pc:spChg>
        <pc:spChg chg="add mod">
          <ac:chgData name="Ischanka, Eugen" userId="e4e12248-2210-4459-89e3-acb2dd10c338" providerId="ADAL" clId="{B43E1DAA-D1B3-4D0B-AEC5-363FA5BB253D}" dt="2023-12-18T10:25:39.259" v="1231" actId="1076"/>
          <ac:spMkLst>
            <pc:docMk/>
            <pc:sldMk cId="2920645228" sldId="347"/>
            <ac:spMk id="6" creationId="{D70AC96B-308A-EDE1-2091-F00E3D5D6724}"/>
          </ac:spMkLst>
        </pc:spChg>
      </pc:sldChg>
      <pc:sldChg chg="modSp mod">
        <pc:chgData name="Ischanka, Eugen" userId="e4e12248-2210-4459-89e3-acb2dd10c338" providerId="ADAL" clId="{B43E1DAA-D1B3-4D0B-AEC5-363FA5BB253D}" dt="2023-12-12T13:32:03.618" v="1" actId="1076"/>
        <pc:sldMkLst>
          <pc:docMk/>
          <pc:sldMk cId="1800175079" sldId="374"/>
        </pc:sldMkLst>
        <pc:spChg chg="mod">
          <ac:chgData name="Ischanka, Eugen" userId="e4e12248-2210-4459-89e3-acb2dd10c338" providerId="ADAL" clId="{B43E1DAA-D1B3-4D0B-AEC5-363FA5BB253D}" dt="2023-12-12T13:32:03.618" v="1" actId="1076"/>
          <ac:spMkLst>
            <pc:docMk/>
            <pc:sldMk cId="1800175079" sldId="374"/>
            <ac:spMk id="6" creationId="{3196A012-4007-665C-4263-D31DA0E0B318}"/>
          </ac:spMkLst>
        </pc:spChg>
      </pc:sldChg>
      <pc:sldChg chg="addSp modSp mod">
        <pc:chgData name="Ischanka, Eugen" userId="e4e12248-2210-4459-89e3-acb2dd10c338" providerId="ADAL" clId="{B43E1DAA-D1B3-4D0B-AEC5-363FA5BB253D}" dt="2023-12-18T10:27:08.437" v="1361" actId="1076"/>
        <pc:sldMkLst>
          <pc:docMk/>
          <pc:sldMk cId="1916996503" sldId="382"/>
        </pc:sldMkLst>
        <pc:spChg chg="add mod">
          <ac:chgData name="Ischanka, Eugen" userId="e4e12248-2210-4459-89e3-acb2dd10c338" providerId="ADAL" clId="{B43E1DAA-D1B3-4D0B-AEC5-363FA5BB253D}" dt="2023-12-18T10:27:08.437" v="1361" actId="1076"/>
          <ac:spMkLst>
            <pc:docMk/>
            <pc:sldMk cId="1916996503" sldId="382"/>
            <ac:spMk id="8" creationId="{452D1C7D-6789-7243-94B3-C6CF6E9361FC}"/>
          </ac:spMkLst>
        </pc:spChg>
      </pc:sldChg>
      <pc:sldChg chg="addSp delSp modSp mod">
        <pc:chgData name="Ischanka, Eugen" userId="e4e12248-2210-4459-89e3-acb2dd10c338" providerId="ADAL" clId="{B43E1DAA-D1B3-4D0B-AEC5-363FA5BB253D}" dt="2023-12-18T10:24:34.801" v="1216" actId="478"/>
        <pc:sldMkLst>
          <pc:docMk/>
          <pc:sldMk cId="595948307" sldId="410"/>
        </pc:sldMkLst>
        <pc:spChg chg="del mod">
          <ac:chgData name="Ischanka, Eugen" userId="e4e12248-2210-4459-89e3-acb2dd10c338" providerId="ADAL" clId="{B43E1DAA-D1B3-4D0B-AEC5-363FA5BB253D}" dt="2023-12-18T10:24:34.801" v="1216" actId="478"/>
          <ac:spMkLst>
            <pc:docMk/>
            <pc:sldMk cId="595948307" sldId="410"/>
            <ac:spMk id="6" creationId="{DAD941AE-7007-A23D-5D94-0D613A606F81}"/>
          </ac:spMkLst>
        </pc:spChg>
        <pc:spChg chg="add del">
          <ac:chgData name="Ischanka, Eugen" userId="e4e12248-2210-4459-89e3-acb2dd10c338" providerId="ADAL" clId="{B43E1DAA-D1B3-4D0B-AEC5-363FA5BB253D}" dt="2023-12-18T10:22:02.875" v="1085" actId="478"/>
          <ac:spMkLst>
            <pc:docMk/>
            <pc:sldMk cId="595948307" sldId="410"/>
            <ac:spMk id="7" creationId="{E54380F7-9E57-20A2-7C8D-ACBF33DD9F97}"/>
          </ac:spMkLst>
        </pc:spChg>
        <pc:spChg chg="add mod">
          <ac:chgData name="Ischanka, Eugen" userId="e4e12248-2210-4459-89e3-acb2dd10c338" providerId="ADAL" clId="{B43E1DAA-D1B3-4D0B-AEC5-363FA5BB253D}" dt="2023-12-18T10:24:30.954" v="1215" actId="1076"/>
          <ac:spMkLst>
            <pc:docMk/>
            <pc:sldMk cId="595948307" sldId="410"/>
            <ac:spMk id="9" creationId="{D0D04531-E361-E74F-4E04-B8BE5D3783E3}"/>
          </ac:spMkLst>
        </pc:spChg>
      </pc:sldChg>
      <pc:sldChg chg="delSp modSp mod">
        <pc:chgData name="Ischanka, Eugen" userId="e4e12248-2210-4459-89e3-acb2dd10c338" providerId="ADAL" clId="{B43E1DAA-D1B3-4D0B-AEC5-363FA5BB253D}" dt="2023-12-18T10:24:46.212" v="1218" actId="478"/>
        <pc:sldMkLst>
          <pc:docMk/>
          <pc:sldMk cId="3469313811" sldId="411"/>
        </pc:sldMkLst>
        <pc:spChg chg="del mod">
          <ac:chgData name="Ischanka, Eugen" userId="e4e12248-2210-4459-89e3-acb2dd10c338" providerId="ADAL" clId="{B43E1DAA-D1B3-4D0B-AEC5-363FA5BB253D}" dt="2023-12-18T10:24:46.212" v="1218" actId="478"/>
          <ac:spMkLst>
            <pc:docMk/>
            <pc:sldMk cId="3469313811" sldId="411"/>
            <ac:spMk id="5" creationId="{2D79435B-6D83-C141-51A7-B033F80EC4D6}"/>
          </ac:spMkLst>
        </pc:spChg>
      </pc:sldChg>
      <pc:sldChg chg="addSp delSp modSp mod">
        <pc:chgData name="Ischanka, Eugen" userId="e4e12248-2210-4459-89e3-acb2dd10c338" providerId="ADAL" clId="{B43E1DAA-D1B3-4D0B-AEC5-363FA5BB253D}" dt="2023-12-18T10:35:04.427" v="1365" actId="478"/>
        <pc:sldMkLst>
          <pc:docMk/>
          <pc:sldMk cId="306161604" sldId="417"/>
        </pc:sldMkLst>
        <pc:spChg chg="del">
          <ac:chgData name="Ischanka, Eugen" userId="e4e12248-2210-4459-89e3-acb2dd10c338" providerId="ADAL" clId="{B43E1DAA-D1B3-4D0B-AEC5-363FA5BB253D}" dt="2023-12-18T10:34:59.979" v="1364" actId="478"/>
          <ac:spMkLst>
            <pc:docMk/>
            <pc:sldMk cId="306161604" sldId="417"/>
            <ac:spMk id="2" creationId="{11ED4E1E-27B1-EC77-C41A-40FB570DD1C2}"/>
          </ac:spMkLst>
        </pc:spChg>
        <pc:spChg chg="add del">
          <ac:chgData name="Ischanka, Eugen" userId="e4e12248-2210-4459-89e3-acb2dd10c338" providerId="ADAL" clId="{B43E1DAA-D1B3-4D0B-AEC5-363FA5BB253D}" dt="2023-12-18T10:27:55.936" v="1362" actId="478"/>
          <ac:spMkLst>
            <pc:docMk/>
            <pc:sldMk cId="306161604" sldId="417"/>
            <ac:spMk id="9" creationId="{188FD759-ADA1-C128-5DAB-99B6BB816EE3}"/>
          </ac:spMkLst>
        </pc:spChg>
        <pc:spChg chg="del mod">
          <ac:chgData name="Ischanka, Eugen" userId="e4e12248-2210-4459-89e3-acb2dd10c338" providerId="ADAL" clId="{B43E1DAA-D1B3-4D0B-AEC5-363FA5BB253D}" dt="2023-12-18T10:35:04.427" v="1365" actId="478"/>
          <ac:spMkLst>
            <pc:docMk/>
            <pc:sldMk cId="306161604" sldId="417"/>
            <ac:spMk id="10" creationId="{280DAFEA-9737-B488-4108-1F7C7E36650D}"/>
          </ac:spMkLst>
        </pc:spChg>
      </pc:sldChg>
      <pc:sldChg chg="delSp mod">
        <pc:chgData name="Ischanka, Eugen" userId="e4e12248-2210-4459-89e3-acb2dd10c338" providerId="ADAL" clId="{B43E1DAA-D1B3-4D0B-AEC5-363FA5BB253D}" dt="2023-12-18T10:35:13.577" v="1366" actId="478"/>
        <pc:sldMkLst>
          <pc:docMk/>
          <pc:sldMk cId="3296114413" sldId="420"/>
        </pc:sldMkLst>
        <pc:spChg chg="del">
          <ac:chgData name="Ischanka, Eugen" userId="e4e12248-2210-4459-89e3-acb2dd10c338" providerId="ADAL" clId="{B43E1DAA-D1B3-4D0B-AEC5-363FA5BB253D}" dt="2023-12-18T10:35:13.577" v="1366" actId="478"/>
          <ac:spMkLst>
            <pc:docMk/>
            <pc:sldMk cId="3296114413" sldId="420"/>
            <ac:spMk id="11" creationId="{B1828B05-8265-F4CC-3B5B-E6B695071A32}"/>
          </ac:spMkLst>
        </pc:spChg>
      </pc:sldChg>
      <pc:sldChg chg="modSp mod">
        <pc:chgData name="Ischanka, Eugen" userId="e4e12248-2210-4459-89e3-acb2dd10c338" providerId="ADAL" clId="{B43E1DAA-D1B3-4D0B-AEC5-363FA5BB253D}" dt="2023-12-15T12:05:59.904" v="404" actId="20577"/>
        <pc:sldMkLst>
          <pc:docMk/>
          <pc:sldMk cId="3143875857" sldId="422"/>
        </pc:sldMkLst>
        <pc:spChg chg="mod">
          <ac:chgData name="Ischanka, Eugen" userId="e4e12248-2210-4459-89e3-acb2dd10c338" providerId="ADAL" clId="{B43E1DAA-D1B3-4D0B-AEC5-363FA5BB253D}" dt="2023-12-15T12:02:58.255" v="218" actId="20577"/>
          <ac:spMkLst>
            <pc:docMk/>
            <pc:sldMk cId="3143875857" sldId="422"/>
            <ac:spMk id="2" creationId="{94B21A1C-77D2-3290-28F2-91C94B21A7B8}"/>
          </ac:spMkLst>
        </pc:spChg>
        <pc:spChg chg="mod">
          <ac:chgData name="Ischanka, Eugen" userId="e4e12248-2210-4459-89e3-acb2dd10c338" providerId="ADAL" clId="{B43E1DAA-D1B3-4D0B-AEC5-363FA5BB253D}" dt="2023-12-15T12:05:59.904" v="404" actId="20577"/>
          <ac:spMkLst>
            <pc:docMk/>
            <pc:sldMk cId="3143875857" sldId="422"/>
            <ac:spMk id="3" creationId="{BD4FD540-9E82-1F41-5E03-1035DAEBB864}"/>
          </ac:spMkLst>
        </pc:spChg>
        <pc:graphicFrameChg chg="mod modGraphic">
          <ac:chgData name="Ischanka, Eugen" userId="e4e12248-2210-4459-89e3-acb2dd10c338" providerId="ADAL" clId="{B43E1DAA-D1B3-4D0B-AEC5-363FA5BB253D}" dt="2023-12-15T12:03:10.943" v="219" actId="1076"/>
          <ac:graphicFrameMkLst>
            <pc:docMk/>
            <pc:sldMk cId="3143875857" sldId="422"/>
            <ac:graphicFrameMk id="5" creationId="{5CEA2052-C936-60DA-45A9-070815F528AC}"/>
          </ac:graphicFrameMkLst>
        </pc:graphicFrameChg>
      </pc:sldChg>
      <pc:sldChg chg="addSp delSp modSp mod modClrScheme chgLayout">
        <pc:chgData name="Ischanka, Eugen" userId="e4e12248-2210-4459-89e3-acb2dd10c338" providerId="ADAL" clId="{B43E1DAA-D1B3-4D0B-AEC5-363FA5BB253D}" dt="2023-12-18T09:42:03.166" v="985" actId="478"/>
        <pc:sldMkLst>
          <pc:docMk/>
          <pc:sldMk cId="1275413563" sldId="423"/>
        </pc:sldMkLst>
        <pc:spChg chg="mod ord">
          <ac:chgData name="Ischanka, Eugen" userId="e4e12248-2210-4459-89e3-acb2dd10c338" providerId="ADAL" clId="{B43E1DAA-D1B3-4D0B-AEC5-363FA5BB253D}" dt="2023-12-18T09:34:29.844" v="978" actId="20577"/>
          <ac:spMkLst>
            <pc:docMk/>
            <pc:sldMk cId="1275413563" sldId="423"/>
            <ac:spMk id="2" creationId="{E25E70AB-7C22-50FE-2D10-3E5221036017}"/>
          </ac:spMkLst>
        </pc:spChg>
        <pc:spChg chg="mod ord">
          <ac:chgData name="Ischanka, Eugen" userId="e4e12248-2210-4459-89e3-acb2dd10c338" providerId="ADAL" clId="{B43E1DAA-D1B3-4D0B-AEC5-363FA5BB253D}" dt="2023-12-18T08:26:35.174" v="772" actId="700"/>
          <ac:spMkLst>
            <pc:docMk/>
            <pc:sldMk cId="1275413563" sldId="423"/>
            <ac:spMk id="3" creationId="{B455B147-9CB1-4561-1EFE-C75AEDA5337D}"/>
          </ac:spMkLst>
        </pc:spChg>
        <pc:spChg chg="mod ord">
          <ac:chgData name="Ischanka, Eugen" userId="e4e12248-2210-4459-89e3-acb2dd10c338" providerId="ADAL" clId="{B43E1DAA-D1B3-4D0B-AEC5-363FA5BB253D}" dt="2023-12-18T08:26:35.174" v="772" actId="700"/>
          <ac:spMkLst>
            <pc:docMk/>
            <pc:sldMk cId="1275413563" sldId="423"/>
            <ac:spMk id="4" creationId="{2B2C534C-775B-ABF3-53E8-F9C2E1E18568}"/>
          </ac:spMkLst>
        </pc:spChg>
        <pc:spChg chg="add del mod ord">
          <ac:chgData name="Ischanka, Eugen" userId="e4e12248-2210-4459-89e3-acb2dd10c338" providerId="ADAL" clId="{B43E1DAA-D1B3-4D0B-AEC5-363FA5BB253D}" dt="2023-12-18T08:53:02.887" v="790"/>
          <ac:spMkLst>
            <pc:docMk/>
            <pc:sldMk cId="1275413563" sldId="423"/>
            <ac:spMk id="5" creationId="{F749B7AE-34D6-6EBF-AECD-C48707DCE206}"/>
          </ac:spMkLst>
        </pc:spChg>
        <pc:spChg chg="add del">
          <ac:chgData name="Ischanka, Eugen" userId="e4e12248-2210-4459-89e3-acb2dd10c338" providerId="ADAL" clId="{B43E1DAA-D1B3-4D0B-AEC5-363FA5BB253D}" dt="2023-12-15T10:25:51.621" v="7" actId="22"/>
          <ac:spMkLst>
            <pc:docMk/>
            <pc:sldMk cId="1275413563" sldId="423"/>
            <ac:spMk id="6" creationId="{09D90F52-CF42-C698-9150-E59AEE7C1D62}"/>
          </ac:spMkLst>
        </pc:spChg>
        <pc:spChg chg="add del mod">
          <ac:chgData name="Ischanka, Eugen" userId="e4e12248-2210-4459-89e3-acb2dd10c338" providerId="ADAL" clId="{B43E1DAA-D1B3-4D0B-AEC5-363FA5BB253D}" dt="2023-12-18T09:42:03.166" v="985" actId="478"/>
          <ac:spMkLst>
            <pc:docMk/>
            <pc:sldMk cId="1275413563" sldId="423"/>
            <ac:spMk id="7" creationId="{249FB761-F930-18E8-5F31-DBC8B46846B6}"/>
          </ac:spMkLst>
        </pc:spChg>
        <pc:graphicFrameChg chg="add mod">
          <ac:chgData name="Ischanka, Eugen" userId="e4e12248-2210-4459-89e3-acb2dd10c338" providerId="ADAL" clId="{B43E1DAA-D1B3-4D0B-AEC5-363FA5BB253D}" dt="2023-12-18T09:34:08.233" v="969" actId="20577"/>
          <ac:graphicFrameMkLst>
            <pc:docMk/>
            <pc:sldMk cId="1275413563" sldId="423"/>
            <ac:graphicFrameMk id="6" creationId="{33024BCA-7E0D-573D-3581-574E8845F2A2}"/>
          </ac:graphicFrameMkLst>
        </pc:graphicFrameChg>
      </pc:sldChg>
      <pc:sldChg chg="addSp delSp modSp new mod">
        <pc:chgData name="Ischanka, Eugen" userId="e4e12248-2210-4459-89e3-acb2dd10c338" providerId="ADAL" clId="{B43E1DAA-D1B3-4D0B-AEC5-363FA5BB253D}" dt="2023-12-15T13:51:39.035" v="743" actId="478"/>
        <pc:sldMkLst>
          <pc:docMk/>
          <pc:sldMk cId="2585576138" sldId="424"/>
        </pc:sldMkLst>
        <pc:spChg chg="del mod">
          <ac:chgData name="Ischanka, Eugen" userId="e4e12248-2210-4459-89e3-acb2dd10c338" providerId="ADAL" clId="{B43E1DAA-D1B3-4D0B-AEC5-363FA5BB253D}" dt="2023-12-15T13:11:52.602" v="414"/>
          <ac:spMkLst>
            <pc:docMk/>
            <pc:sldMk cId="2585576138" sldId="424"/>
            <ac:spMk id="2" creationId="{F3E7356C-3486-1F8F-920B-3F46A1A30DA3}"/>
          </ac:spMkLst>
        </pc:spChg>
        <pc:spChg chg="mod">
          <ac:chgData name="Ischanka, Eugen" userId="e4e12248-2210-4459-89e3-acb2dd10c338" providerId="ADAL" clId="{B43E1DAA-D1B3-4D0B-AEC5-363FA5BB253D}" dt="2023-12-15T13:12:02.668" v="426" actId="20577"/>
          <ac:spMkLst>
            <pc:docMk/>
            <pc:sldMk cId="2585576138" sldId="424"/>
            <ac:spMk id="3" creationId="{E051FC08-11F3-1EA0-DB66-A47078FBA7B7}"/>
          </ac:spMkLst>
        </pc:spChg>
        <pc:spChg chg="mod">
          <ac:chgData name="Ischanka, Eugen" userId="e4e12248-2210-4459-89e3-acb2dd10c338" providerId="ADAL" clId="{B43E1DAA-D1B3-4D0B-AEC5-363FA5BB253D}" dt="2023-12-15T10:26:15.222" v="10" actId="20577"/>
          <ac:spMkLst>
            <pc:docMk/>
            <pc:sldMk cId="2585576138" sldId="424"/>
            <ac:spMk id="4" creationId="{206493A6-D130-FF79-0673-A9CD89D391EE}"/>
          </ac:spMkLst>
        </pc:spChg>
        <pc:spChg chg="add mod">
          <ac:chgData name="Ischanka, Eugen" userId="e4e12248-2210-4459-89e3-acb2dd10c338" providerId="ADAL" clId="{B43E1DAA-D1B3-4D0B-AEC5-363FA5BB253D}" dt="2023-12-15T12:04:28.961" v="303" actId="1076"/>
          <ac:spMkLst>
            <pc:docMk/>
            <pc:sldMk cId="2585576138" sldId="424"/>
            <ac:spMk id="6" creationId="{9801F2BC-DCBC-7228-DDE9-8E50DB2C363D}"/>
          </ac:spMkLst>
        </pc:spChg>
        <pc:spChg chg="add del mod">
          <ac:chgData name="Ischanka, Eugen" userId="e4e12248-2210-4459-89e3-acb2dd10c338" providerId="ADAL" clId="{B43E1DAA-D1B3-4D0B-AEC5-363FA5BB253D}" dt="2023-12-15T13:51:39.035" v="743" actId="478"/>
          <ac:spMkLst>
            <pc:docMk/>
            <pc:sldMk cId="2585576138" sldId="424"/>
            <ac:spMk id="8" creationId="{A1F68FEC-97B9-CB4E-174A-EF9C0C36011B}"/>
          </ac:spMkLst>
        </pc:spChg>
        <pc:graphicFrameChg chg="add del mod">
          <ac:chgData name="Ischanka, Eugen" userId="e4e12248-2210-4459-89e3-acb2dd10c338" providerId="ADAL" clId="{B43E1DAA-D1B3-4D0B-AEC5-363FA5BB253D}" dt="2023-12-15T13:11:50.617" v="413" actId="21"/>
          <ac:graphicFrameMkLst>
            <pc:docMk/>
            <pc:sldMk cId="2585576138" sldId="424"/>
            <ac:graphicFrameMk id="9" creationId="{CA16B476-56B9-8AD7-9498-370BF59B45E5}"/>
          </ac:graphicFrameMkLst>
        </pc:graphicFrameChg>
        <pc:graphicFrameChg chg="add mod">
          <ac:chgData name="Ischanka, Eugen" userId="e4e12248-2210-4459-89e3-acb2dd10c338" providerId="ADAL" clId="{B43E1DAA-D1B3-4D0B-AEC5-363FA5BB253D}" dt="2023-12-15T13:12:44.118" v="453" actId="404"/>
          <ac:graphicFrameMkLst>
            <pc:docMk/>
            <pc:sldMk cId="2585576138" sldId="424"/>
            <ac:graphicFrameMk id="10" creationId="{175895F2-AE65-B431-8104-9DFA8ECE9AC6}"/>
          </ac:graphicFrameMkLst>
        </pc:graphicFrameChg>
        <pc:graphicFrameChg chg="add mod modGraphic">
          <ac:chgData name="Ischanka, Eugen" userId="e4e12248-2210-4459-89e3-acb2dd10c338" providerId="ADAL" clId="{B43E1DAA-D1B3-4D0B-AEC5-363FA5BB253D}" dt="2023-12-15T13:18:04.753" v="630" actId="20577"/>
          <ac:graphicFrameMkLst>
            <pc:docMk/>
            <pc:sldMk cId="2585576138" sldId="424"/>
            <ac:graphicFrameMk id="11" creationId="{58B3173A-1A22-B701-BF4F-1A19894E77CE}"/>
          </ac:graphicFrameMkLst>
        </pc:graphicFrameChg>
      </pc:sldChg>
      <pc:sldChg chg="addSp delSp modSp add mod">
        <pc:chgData name="Ischanka, Eugen" userId="e4e12248-2210-4459-89e3-acb2dd10c338" providerId="ADAL" clId="{B43E1DAA-D1B3-4D0B-AEC5-363FA5BB253D}" dt="2023-12-15T13:29:06.548" v="736" actId="1076"/>
        <pc:sldMkLst>
          <pc:docMk/>
          <pc:sldMk cId="2075484089" sldId="425"/>
        </pc:sldMkLst>
        <pc:spChg chg="del mod">
          <ac:chgData name="Ischanka, Eugen" userId="e4e12248-2210-4459-89e3-acb2dd10c338" providerId="ADAL" clId="{B43E1DAA-D1B3-4D0B-AEC5-363FA5BB253D}" dt="2023-12-15T13:22:07.481" v="636"/>
          <ac:spMkLst>
            <pc:docMk/>
            <pc:sldMk cId="2075484089" sldId="425"/>
            <ac:spMk id="2" creationId="{F3E7356C-3486-1F8F-920B-3F46A1A30DA3}"/>
          </ac:spMkLst>
        </pc:spChg>
        <pc:spChg chg="mod">
          <ac:chgData name="Ischanka, Eugen" userId="e4e12248-2210-4459-89e3-acb2dd10c338" providerId="ADAL" clId="{B43E1DAA-D1B3-4D0B-AEC5-363FA5BB253D}" dt="2023-12-15T10:32:42.135" v="108" actId="20577"/>
          <ac:spMkLst>
            <pc:docMk/>
            <pc:sldMk cId="2075484089" sldId="425"/>
            <ac:spMk id="3" creationId="{E051FC08-11F3-1EA0-DB66-A47078FBA7B7}"/>
          </ac:spMkLst>
        </pc:spChg>
        <pc:spChg chg="del">
          <ac:chgData name="Ischanka, Eugen" userId="e4e12248-2210-4459-89e3-acb2dd10c338" providerId="ADAL" clId="{B43E1DAA-D1B3-4D0B-AEC5-363FA5BB253D}" dt="2023-12-15T10:31:52.990" v="68" actId="478"/>
          <ac:spMkLst>
            <pc:docMk/>
            <pc:sldMk cId="2075484089" sldId="425"/>
            <ac:spMk id="6" creationId="{9801F2BC-DCBC-7228-DDE9-8E50DB2C363D}"/>
          </ac:spMkLst>
        </pc:spChg>
        <pc:spChg chg="add del mod">
          <ac:chgData name="Ischanka, Eugen" userId="e4e12248-2210-4459-89e3-acb2dd10c338" providerId="ADAL" clId="{B43E1DAA-D1B3-4D0B-AEC5-363FA5BB253D}" dt="2023-12-15T11:48:29.401" v="109" actId="478"/>
          <ac:spMkLst>
            <pc:docMk/>
            <pc:sldMk cId="2075484089" sldId="425"/>
            <ac:spMk id="7" creationId="{D071141A-95FF-A553-B23C-EB475AA9DBF2}"/>
          </ac:spMkLst>
        </pc:spChg>
        <pc:spChg chg="add del mod">
          <ac:chgData name="Ischanka, Eugen" userId="e4e12248-2210-4459-89e3-acb2dd10c338" providerId="ADAL" clId="{B43E1DAA-D1B3-4D0B-AEC5-363FA5BB253D}" dt="2023-12-15T13:22:02.971" v="633" actId="478"/>
          <ac:spMkLst>
            <pc:docMk/>
            <pc:sldMk cId="2075484089" sldId="425"/>
            <ac:spMk id="9" creationId="{AB565A80-0757-136C-33B1-CC2B808CC7F6}"/>
          </ac:spMkLst>
        </pc:spChg>
        <pc:graphicFrameChg chg="add mod">
          <ac:chgData name="Ischanka, Eugen" userId="e4e12248-2210-4459-89e3-acb2dd10c338" providerId="ADAL" clId="{B43E1DAA-D1B3-4D0B-AEC5-363FA5BB253D}" dt="2023-12-15T13:22:46.303" v="695" actId="692"/>
          <ac:graphicFrameMkLst>
            <pc:docMk/>
            <pc:sldMk cId="2075484089" sldId="425"/>
            <ac:graphicFrameMk id="10" creationId="{1F9DE2D1-5993-8C44-2843-336C197876BF}"/>
          </ac:graphicFrameMkLst>
        </pc:graphicFrameChg>
        <pc:graphicFrameChg chg="add mod modGraphic">
          <ac:chgData name="Ischanka, Eugen" userId="e4e12248-2210-4459-89e3-acb2dd10c338" providerId="ADAL" clId="{B43E1DAA-D1B3-4D0B-AEC5-363FA5BB253D}" dt="2023-12-15T13:29:06.548" v="736" actId="1076"/>
          <ac:graphicFrameMkLst>
            <pc:docMk/>
            <pc:sldMk cId="2075484089" sldId="425"/>
            <ac:graphicFrameMk id="11" creationId="{05BD259D-9297-D6F1-2331-4CE9A0226AC0}"/>
          </ac:graphicFrameMkLst>
        </pc:graphicFrameChg>
      </pc:sldChg>
      <pc:sldChg chg="addSp delSp modSp add mod ord">
        <pc:chgData name="Ischanka, Eugen" userId="e4e12248-2210-4459-89e3-acb2dd10c338" providerId="ADAL" clId="{B43E1DAA-D1B3-4D0B-AEC5-363FA5BB253D}" dt="2023-12-15T14:28:37.347" v="771" actId="404"/>
        <pc:sldMkLst>
          <pc:docMk/>
          <pc:sldMk cId="2647160943" sldId="426"/>
        </pc:sldMkLst>
        <pc:spChg chg="del mod">
          <ac:chgData name="Ischanka, Eugen" userId="e4e12248-2210-4459-89e3-acb2dd10c338" providerId="ADAL" clId="{B43E1DAA-D1B3-4D0B-AEC5-363FA5BB253D}" dt="2023-12-15T14:26:54.532" v="744"/>
          <ac:spMkLst>
            <pc:docMk/>
            <pc:sldMk cId="2647160943" sldId="426"/>
            <ac:spMk id="2" creationId="{F3E7356C-3486-1F8F-920B-3F46A1A30DA3}"/>
          </ac:spMkLst>
        </pc:spChg>
        <pc:spChg chg="mod">
          <ac:chgData name="Ischanka, Eugen" userId="e4e12248-2210-4459-89e3-acb2dd10c338" providerId="ADAL" clId="{B43E1DAA-D1B3-4D0B-AEC5-363FA5BB253D}" dt="2023-12-15T12:04:05.734" v="300" actId="20577"/>
          <ac:spMkLst>
            <pc:docMk/>
            <pc:sldMk cId="2647160943" sldId="426"/>
            <ac:spMk id="3" creationId="{E051FC08-11F3-1EA0-DB66-A47078FBA7B7}"/>
          </ac:spMkLst>
        </pc:spChg>
        <pc:spChg chg="add del mod">
          <ac:chgData name="Ischanka, Eugen" userId="e4e12248-2210-4459-89e3-acb2dd10c338" providerId="ADAL" clId="{B43E1DAA-D1B3-4D0B-AEC5-363FA5BB253D}" dt="2023-12-15T13:34:02.682" v="741" actId="478"/>
          <ac:spMkLst>
            <pc:docMk/>
            <pc:sldMk cId="2647160943" sldId="426"/>
            <ac:spMk id="6" creationId="{E963A8C3-72DA-A7F3-F318-DB3BA218C510}"/>
          </ac:spMkLst>
        </pc:spChg>
        <pc:spChg chg="add del mod">
          <ac:chgData name="Ischanka, Eugen" userId="e4e12248-2210-4459-89e3-acb2dd10c338" providerId="ADAL" clId="{B43E1DAA-D1B3-4D0B-AEC5-363FA5BB253D}" dt="2023-12-15T14:27:49.187" v="746"/>
          <ac:spMkLst>
            <pc:docMk/>
            <pc:sldMk cId="2647160943" sldId="426"/>
            <ac:spMk id="9" creationId="{4760C37E-453D-A47C-71B8-E1B7B3E6D0B7}"/>
          </ac:spMkLst>
        </pc:spChg>
        <pc:graphicFrameChg chg="add del mod">
          <ac:chgData name="Ischanka, Eugen" userId="e4e12248-2210-4459-89e3-acb2dd10c338" providerId="ADAL" clId="{B43E1DAA-D1B3-4D0B-AEC5-363FA5BB253D}" dt="2023-12-15T14:27:15.135" v="745" actId="478"/>
          <ac:graphicFrameMkLst>
            <pc:docMk/>
            <pc:sldMk cId="2647160943" sldId="426"/>
            <ac:graphicFrameMk id="7" creationId="{3A633E47-97A3-4816-97D6-F1B50E2F7236}"/>
          </ac:graphicFrameMkLst>
        </pc:graphicFrameChg>
        <pc:graphicFrameChg chg="add mod">
          <ac:chgData name="Ischanka, Eugen" userId="e4e12248-2210-4459-89e3-acb2dd10c338" providerId="ADAL" clId="{B43E1DAA-D1B3-4D0B-AEC5-363FA5BB253D}" dt="2023-12-15T14:28:37.347" v="771" actId="404"/>
          <ac:graphicFrameMkLst>
            <pc:docMk/>
            <pc:sldMk cId="2647160943" sldId="426"/>
            <ac:graphicFrameMk id="10" creationId="{3A633E47-97A3-4816-97D6-F1B50E2F7236}"/>
          </ac:graphicFrameMkLst>
        </pc:graphicFrameChg>
      </pc:sldChg>
      <pc:sldChg chg="modSp add mod ord">
        <pc:chgData name="Ischanka, Eugen" userId="e4e12248-2210-4459-89e3-acb2dd10c338" providerId="ADAL" clId="{B43E1DAA-D1B3-4D0B-AEC5-363FA5BB253D}" dt="2023-12-18T08:27:27.668" v="789"/>
        <pc:sldMkLst>
          <pc:docMk/>
          <pc:sldMk cId="3073229798" sldId="427"/>
        </pc:sldMkLst>
        <pc:spChg chg="mod">
          <ac:chgData name="Ischanka, Eugen" userId="e4e12248-2210-4459-89e3-acb2dd10c338" providerId="ADAL" clId="{B43E1DAA-D1B3-4D0B-AEC5-363FA5BB253D}" dt="2023-12-15T12:05:32.097" v="358" actId="20577"/>
          <ac:spMkLst>
            <pc:docMk/>
            <pc:sldMk cId="3073229798" sldId="427"/>
            <ac:spMk id="3" creationId="{E051FC08-11F3-1EA0-DB66-A47078FBA7B7}"/>
          </ac:spMkLst>
        </pc:spChg>
      </pc:sldChg>
      <pc:sldChg chg="modSp mod">
        <pc:chgData name="Ischanka, Eugen" userId="e4e12248-2210-4459-89e3-acb2dd10c338" providerId="ADAL" clId="{B43E1DAA-D1B3-4D0B-AEC5-363FA5BB253D}" dt="2023-12-18T09:55:57.102" v="1048" actId="20577"/>
        <pc:sldMkLst>
          <pc:docMk/>
          <pc:sldMk cId="3400566277" sldId="432"/>
        </pc:sldMkLst>
        <pc:spChg chg="mod">
          <ac:chgData name="Ischanka, Eugen" userId="e4e12248-2210-4459-89e3-acb2dd10c338" providerId="ADAL" clId="{B43E1DAA-D1B3-4D0B-AEC5-363FA5BB253D}" dt="2023-12-18T09:55:57.102" v="1048" actId="20577"/>
          <ac:spMkLst>
            <pc:docMk/>
            <pc:sldMk cId="3400566277" sldId="432"/>
            <ac:spMk id="3" creationId="{5422FF84-A844-0BB8-14FC-955581F1B1B4}"/>
          </ac:spMkLst>
        </pc:spChg>
      </pc:sldChg>
      <pc:sldChg chg="addSp delSp modSp new mod modClrScheme chgLayout">
        <pc:chgData name="Ischanka, Eugen" userId="e4e12248-2210-4459-89e3-acb2dd10c338" providerId="ADAL" clId="{B43E1DAA-D1B3-4D0B-AEC5-363FA5BB253D}" dt="2023-12-18T09:59:05.517" v="1082" actId="692"/>
        <pc:sldMkLst>
          <pc:docMk/>
          <pc:sldMk cId="4152712233" sldId="433"/>
        </pc:sldMkLst>
        <pc:spChg chg="del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2" creationId="{6E46EC96-9AE2-E2E3-E952-8879628913FB}"/>
          </ac:spMkLst>
        </pc:spChg>
        <pc:spChg chg="del mod ord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3" creationId="{AC18F834-DBA1-9A90-0A21-727EB49E0F5E}"/>
          </ac:spMkLst>
        </pc:spChg>
        <pc:spChg chg="del mod ord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4" creationId="{6E29F954-8ACF-7585-A51F-A413C3E8467D}"/>
          </ac:spMkLst>
        </pc:spChg>
        <pc:spChg chg="del mod ord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5" creationId="{C8988030-7FFA-F719-36AC-CCF394640A35}"/>
          </ac:spMkLst>
        </pc:spChg>
        <pc:spChg chg="add mod ord">
          <ac:chgData name="Ischanka, Eugen" userId="e4e12248-2210-4459-89e3-acb2dd10c338" providerId="ADAL" clId="{B43E1DAA-D1B3-4D0B-AEC5-363FA5BB253D}" dt="2023-12-18T09:34:42.600" v="981"/>
          <ac:spMkLst>
            <pc:docMk/>
            <pc:sldMk cId="4152712233" sldId="433"/>
            <ac:spMk id="6" creationId="{33EF4449-D878-90E3-6BBA-19C8BFE75FEE}"/>
          </ac:spMkLst>
        </pc:spChg>
        <pc:spChg chg="add del mod ord">
          <ac:chgData name="Ischanka, Eugen" userId="e4e12248-2210-4459-89e3-acb2dd10c338" providerId="ADAL" clId="{B43E1DAA-D1B3-4D0B-AEC5-363FA5BB253D}" dt="2023-12-18T09:41:30.468" v="984"/>
          <ac:spMkLst>
            <pc:docMk/>
            <pc:sldMk cId="4152712233" sldId="433"/>
            <ac:spMk id="7" creationId="{DF8DFE89-38A2-8E08-0F2E-D5D31CC7EBED}"/>
          </ac:spMkLst>
        </pc:spChg>
        <pc:spChg chg="add mod ord">
          <ac:chgData name="Ischanka, Eugen" userId="e4e12248-2210-4459-89e3-acb2dd10c338" providerId="ADAL" clId="{B43E1DAA-D1B3-4D0B-AEC5-363FA5BB253D}" dt="2023-12-18T09:34:50.455" v="983" actId="20577"/>
          <ac:spMkLst>
            <pc:docMk/>
            <pc:sldMk cId="4152712233" sldId="433"/>
            <ac:spMk id="8" creationId="{0E7B48D8-4791-D9AF-92D4-E3E6411F32FF}"/>
          </ac:spMkLst>
        </pc:spChg>
        <pc:graphicFrameChg chg="add mod">
          <ac:chgData name="Ischanka, Eugen" userId="e4e12248-2210-4459-89e3-acb2dd10c338" providerId="ADAL" clId="{B43E1DAA-D1B3-4D0B-AEC5-363FA5BB253D}" dt="2023-12-18T09:59:05.517" v="1082" actId="692"/>
          <ac:graphicFrameMkLst>
            <pc:docMk/>
            <pc:sldMk cId="4152712233" sldId="433"/>
            <ac:graphicFrameMk id="9" creationId="{C61E63DD-930F-ABBC-06E7-BD997051D3DA}"/>
          </ac:graphicFrameMkLst>
        </pc:graphicFrameChg>
      </pc:sldChg>
    </pc:docChg>
  </pc:docChgLst>
  <pc:docChgLst>
    <pc:chgData name="Ischanka, Eugen" userId="e4e12248-2210-4459-89e3-acb2dd10c338" providerId="ADAL" clId="{6B007BF1-A4BE-4168-A27D-DDEC92CFFC2E}"/>
    <pc:docChg chg="custSel modSld">
      <pc:chgData name="Ischanka, Eugen" userId="e4e12248-2210-4459-89e3-acb2dd10c338" providerId="ADAL" clId="{6B007BF1-A4BE-4168-A27D-DDEC92CFFC2E}" dt="2023-11-21T09:53:08.694" v="1682" actId="1076"/>
      <pc:docMkLst>
        <pc:docMk/>
      </pc:docMkLst>
      <pc:sldChg chg="addSp modSp mod">
        <pc:chgData name="Ischanka, Eugen" userId="e4e12248-2210-4459-89e3-acb2dd10c338" providerId="ADAL" clId="{6B007BF1-A4BE-4168-A27D-DDEC92CFFC2E}" dt="2023-11-21T09:18:55.224" v="132" actId="1076"/>
        <pc:sldMkLst>
          <pc:docMk/>
          <pc:sldMk cId="3777640778" sldId="345"/>
        </pc:sldMkLst>
        <pc:spChg chg="add mod">
          <ac:chgData name="Ischanka, Eugen" userId="e4e12248-2210-4459-89e3-acb2dd10c338" providerId="ADAL" clId="{6B007BF1-A4BE-4168-A27D-DDEC92CFFC2E}" dt="2023-11-21T09:18:55.224" v="132" actId="1076"/>
          <ac:spMkLst>
            <pc:docMk/>
            <pc:sldMk cId="3777640778" sldId="345"/>
            <ac:spMk id="6" creationId="{F53DEEB3-BF14-41C7-0A7D-A8E8E575352E}"/>
          </ac:spMkLst>
        </pc:spChg>
      </pc:sldChg>
      <pc:sldChg chg="addSp modSp mod">
        <pc:chgData name="Ischanka, Eugen" userId="e4e12248-2210-4459-89e3-acb2dd10c338" providerId="ADAL" clId="{6B007BF1-A4BE-4168-A27D-DDEC92CFFC2E}" dt="2023-11-21T09:19:44.990" v="169" actId="1076"/>
        <pc:sldMkLst>
          <pc:docMk/>
          <pc:sldMk cId="2369326508" sldId="346"/>
        </pc:sldMkLst>
        <pc:spChg chg="add mod">
          <ac:chgData name="Ischanka, Eugen" userId="e4e12248-2210-4459-89e3-acb2dd10c338" providerId="ADAL" clId="{6B007BF1-A4BE-4168-A27D-DDEC92CFFC2E}" dt="2023-11-21T09:19:44.990" v="169" actId="1076"/>
          <ac:spMkLst>
            <pc:docMk/>
            <pc:sldMk cId="2369326508" sldId="346"/>
            <ac:spMk id="2" creationId="{3401787B-F1B8-4781-0C86-DDEF4DCEF3FE}"/>
          </ac:spMkLst>
        </pc:spChg>
      </pc:sldChg>
      <pc:sldChg chg="addSp modSp mod">
        <pc:chgData name="Ischanka, Eugen" userId="e4e12248-2210-4459-89e3-acb2dd10c338" providerId="ADAL" clId="{6B007BF1-A4BE-4168-A27D-DDEC92CFFC2E}" dt="2023-11-21T09:26:16.074" v="645" actId="20577"/>
        <pc:sldMkLst>
          <pc:docMk/>
          <pc:sldMk cId="2920645228" sldId="347"/>
        </pc:sldMkLst>
        <pc:spChg chg="add mod">
          <ac:chgData name="Ischanka, Eugen" userId="e4e12248-2210-4459-89e3-acb2dd10c338" providerId="ADAL" clId="{6B007BF1-A4BE-4168-A27D-DDEC92CFFC2E}" dt="2023-11-21T09:24:57.517" v="496" actId="1076"/>
          <ac:spMkLst>
            <pc:docMk/>
            <pc:sldMk cId="2920645228" sldId="347"/>
            <ac:spMk id="2" creationId="{7467A27A-2494-51AD-0D72-82FEDD081CB8}"/>
          </ac:spMkLst>
        </pc:spChg>
        <pc:spChg chg="add mod">
          <ac:chgData name="Ischanka, Eugen" userId="e4e12248-2210-4459-89e3-acb2dd10c338" providerId="ADAL" clId="{6B007BF1-A4BE-4168-A27D-DDEC92CFFC2E}" dt="2023-11-21T09:26:16.074" v="645" actId="20577"/>
          <ac:spMkLst>
            <pc:docMk/>
            <pc:sldMk cId="2920645228" sldId="347"/>
            <ac:spMk id="12" creationId="{53449D47-1170-C167-EFBB-B81D18451256}"/>
          </ac:spMkLst>
        </pc:spChg>
      </pc:sldChg>
      <pc:sldChg chg="addSp modSp mod">
        <pc:chgData name="Ischanka, Eugen" userId="e4e12248-2210-4459-89e3-acb2dd10c338" providerId="ADAL" clId="{6B007BF1-A4BE-4168-A27D-DDEC92CFFC2E}" dt="2023-11-21T09:20:28.055" v="225" actId="14100"/>
        <pc:sldMkLst>
          <pc:docMk/>
          <pc:sldMk cId="1974938439" sldId="349"/>
        </pc:sldMkLst>
        <pc:spChg chg="add mod">
          <ac:chgData name="Ischanka, Eugen" userId="e4e12248-2210-4459-89e3-acb2dd10c338" providerId="ADAL" clId="{6B007BF1-A4BE-4168-A27D-DDEC92CFFC2E}" dt="2023-11-21T09:20:28.055" v="225" actId="14100"/>
          <ac:spMkLst>
            <pc:docMk/>
            <pc:sldMk cId="1974938439" sldId="349"/>
            <ac:spMk id="2" creationId="{1C793B39-6F0A-1A22-8A6F-76FCA1272D0A}"/>
          </ac:spMkLst>
        </pc:spChg>
      </pc:sldChg>
      <pc:sldChg chg="addSp delSp modSp mod">
        <pc:chgData name="Ischanka, Eugen" userId="e4e12248-2210-4459-89e3-acb2dd10c338" providerId="ADAL" clId="{6B007BF1-A4BE-4168-A27D-DDEC92CFFC2E}" dt="2023-11-21T09:27:40.068" v="793" actId="1076"/>
        <pc:sldMkLst>
          <pc:docMk/>
          <pc:sldMk cId="2096330239" sldId="351"/>
        </pc:sldMkLst>
        <pc:spChg chg="add del mod">
          <ac:chgData name="Ischanka, Eugen" userId="e4e12248-2210-4459-89e3-acb2dd10c338" providerId="ADAL" clId="{6B007BF1-A4BE-4168-A27D-DDEC92CFFC2E}" dt="2023-11-21T09:26:30.989" v="646" actId="478"/>
          <ac:spMkLst>
            <pc:docMk/>
            <pc:sldMk cId="2096330239" sldId="351"/>
            <ac:spMk id="2" creationId="{63748794-7564-1C1E-1C33-7079B5848BD3}"/>
          </ac:spMkLst>
        </pc:spChg>
        <pc:spChg chg="add mod">
          <ac:chgData name="Ischanka, Eugen" userId="e4e12248-2210-4459-89e3-acb2dd10c338" providerId="ADAL" clId="{6B007BF1-A4BE-4168-A27D-DDEC92CFFC2E}" dt="2023-11-21T09:27:40.068" v="793" actId="1076"/>
          <ac:spMkLst>
            <pc:docMk/>
            <pc:sldMk cId="2096330239" sldId="351"/>
            <ac:spMk id="5" creationId="{82C48CC5-C5E1-0DDD-65F8-72F0D40F700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8:46.922" v="1244" actId="1076"/>
        <pc:sldMkLst>
          <pc:docMk/>
          <pc:sldMk cId="1816946488" sldId="353"/>
        </pc:sldMkLst>
        <pc:spChg chg="add mod">
          <ac:chgData name="Ischanka, Eugen" userId="e4e12248-2210-4459-89e3-acb2dd10c338" providerId="ADAL" clId="{6B007BF1-A4BE-4168-A27D-DDEC92CFFC2E}" dt="2023-11-21T09:38:46.922" v="1244" actId="1076"/>
          <ac:spMkLst>
            <pc:docMk/>
            <pc:sldMk cId="1816946488" sldId="353"/>
            <ac:spMk id="2" creationId="{06EA805A-E95A-50B5-26B8-F96A1BE7F5DC}"/>
          </ac:spMkLst>
        </pc:spChg>
      </pc:sldChg>
      <pc:sldChg chg="addSp modSp mod">
        <pc:chgData name="Ischanka, Eugen" userId="e4e12248-2210-4459-89e3-acb2dd10c338" providerId="ADAL" clId="{6B007BF1-A4BE-4168-A27D-DDEC92CFFC2E}" dt="2023-11-21T09:51:03.342" v="1401" actId="20577"/>
        <pc:sldMkLst>
          <pc:docMk/>
          <pc:sldMk cId="2438554093" sldId="356"/>
        </pc:sldMkLst>
        <pc:spChg chg="add mod">
          <ac:chgData name="Ischanka, Eugen" userId="e4e12248-2210-4459-89e3-acb2dd10c338" providerId="ADAL" clId="{6B007BF1-A4BE-4168-A27D-DDEC92CFFC2E}" dt="2023-11-21T09:51:03.342" v="1401" actId="20577"/>
          <ac:spMkLst>
            <pc:docMk/>
            <pc:sldMk cId="2438554093" sldId="356"/>
            <ac:spMk id="8" creationId="{23439DCE-E513-8773-7780-49907761916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40:45.673" v="1332" actId="1076"/>
        <pc:sldMkLst>
          <pc:docMk/>
          <pc:sldMk cId="1757976955" sldId="357"/>
        </pc:sldMkLst>
        <pc:spChg chg="add mod">
          <ac:chgData name="Ischanka, Eugen" userId="e4e12248-2210-4459-89e3-acb2dd10c338" providerId="ADAL" clId="{6B007BF1-A4BE-4168-A27D-DDEC92CFFC2E}" dt="2023-11-21T09:40:45.673" v="1332" actId="1076"/>
          <ac:spMkLst>
            <pc:docMk/>
            <pc:sldMk cId="1757976955" sldId="357"/>
            <ac:spMk id="13" creationId="{1204F075-09A5-7C40-ACBB-E9A2A7FE1ECA}"/>
          </ac:spMkLst>
        </pc:spChg>
      </pc:sldChg>
      <pc:sldChg chg="addSp modSp mod">
        <pc:chgData name="Ischanka, Eugen" userId="e4e12248-2210-4459-89e3-acb2dd10c338" providerId="ADAL" clId="{6B007BF1-A4BE-4168-A27D-DDEC92CFFC2E}" dt="2023-11-21T09:52:05.385" v="1508" actId="1076"/>
        <pc:sldMkLst>
          <pc:docMk/>
          <pc:sldMk cId="2275226650" sldId="358"/>
        </pc:sldMkLst>
        <pc:spChg chg="add mod">
          <ac:chgData name="Ischanka, Eugen" userId="e4e12248-2210-4459-89e3-acb2dd10c338" providerId="ADAL" clId="{6B007BF1-A4BE-4168-A27D-DDEC92CFFC2E}" dt="2023-11-21T09:52:05.385" v="1508" actId="1076"/>
          <ac:spMkLst>
            <pc:docMk/>
            <pc:sldMk cId="2275226650" sldId="358"/>
            <ac:spMk id="2" creationId="{2284762B-27E6-BA3C-573D-157FCBC637B2}"/>
          </ac:spMkLst>
        </pc:spChg>
      </pc:sldChg>
      <pc:sldChg chg="addSp modSp mod">
        <pc:chgData name="Ischanka, Eugen" userId="e4e12248-2210-4459-89e3-acb2dd10c338" providerId="ADAL" clId="{6B007BF1-A4BE-4168-A27D-DDEC92CFFC2E}" dt="2023-11-21T09:46:58.982" v="1334" actId="1076"/>
        <pc:sldMkLst>
          <pc:docMk/>
          <pc:sldMk cId="342935145" sldId="360"/>
        </pc:sldMkLst>
        <pc:spChg chg="add mod">
          <ac:chgData name="Ischanka, Eugen" userId="e4e12248-2210-4459-89e3-acb2dd10c338" providerId="ADAL" clId="{6B007BF1-A4BE-4168-A27D-DDEC92CFFC2E}" dt="2023-11-21T09:46:58.982" v="1334" actId="1076"/>
          <ac:spMkLst>
            <pc:docMk/>
            <pc:sldMk cId="342935145" sldId="360"/>
            <ac:spMk id="10" creationId="{68291317-A91D-CC1A-55E6-D050265AE1B5}"/>
          </ac:spMkLst>
        </pc:spChg>
      </pc:sldChg>
      <pc:sldChg chg="addSp delSp modSp mod">
        <pc:chgData name="Ischanka, Eugen" userId="e4e12248-2210-4459-89e3-acb2dd10c338" providerId="ADAL" clId="{6B007BF1-A4BE-4168-A27D-DDEC92CFFC2E}" dt="2023-11-21T09:32:07.793" v="796" actId="478"/>
        <pc:sldMkLst>
          <pc:docMk/>
          <pc:sldMk cId="573670748" sldId="367"/>
        </pc:sldMkLst>
        <pc:spChg chg="add del mod">
          <ac:chgData name="Ischanka, Eugen" userId="e4e12248-2210-4459-89e3-acb2dd10c338" providerId="ADAL" clId="{6B007BF1-A4BE-4168-A27D-DDEC92CFFC2E}" dt="2023-11-21T09:32:07.793" v="796" actId="478"/>
          <ac:spMkLst>
            <pc:docMk/>
            <pc:sldMk cId="573670748" sldId="367"/>
            <ac:spMk id="2" creationId="{2145DEAA-06F7-61B5-B01A-07CC9DEAED2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5:54.986" v="1090" actId="1076"/>
        <pc:sldMkLst>
          <pc:docMk/>
          <pc:sldMk cId="676882289" sldId="372"/>
        </pc:sldMkLst>
        <pc:spChg chg="add mod">
          <ac:chgData name="Ischanka, Eugen" userId="e4e12248-2210-4459-89e3-acb2dd10c338" providerId="ADAL" clId="{6B007BF1-A4BE-4168-A27D-DDEC92CFFC2E}" dt="2023-11-21T09:35:54.986" v="1090" actId="1076"/>
          <ac:spMkLst>
            <pc:docMk/>
            <pc:sldMk cId="676882289" sldId="372"/>
            <ac:spMk id="2" creationId="{33F6830C-A06C-AEE0-B2A2-5787433C303B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9:32.334" v="1251" actId="1076"/>
        <pc:sldMkLst>
          <pc:docMk/>
          <pc:sldMk cId="2327630279" sldId="373"/>
        </pc:sldMkLst>
        <pc:spChg chg="add mod">
          <ac:chgData name="Ischanka, Eugen" userId="e4e12248-2210-4459-89e3-acb2dd10c338" providerId="ADAL" clId="{6B007BF1-A4BE-4168-A27D-DDEC92CFFC2E}" dt="2023-11-21T09:39:32.334" v="1251" actId="1076"/>
          <ac:spMkLst>
            <pc:docMk/>
            <pc:sldMk cId="2327630279" sldId="373"/>
            <ac:spMk id="2" creationId="{AEE41A06-5621-352C-203B-1D198F16099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9:45.113" v="1255" actId="14100"/>
        <pc:sldMkLst>
          <pc:docMk/>
          <pc:sldMk cId="1800175079" sldId="374"/>
        </pc:sldMkLst>
        <pc:spChg chg="add mod">
          <ac:chgData name="Ischanka, Eugen" userId="e4e12248-2210-4459-89e3-acb2dd10c338" providerId="ADAL" clId="{6B007BF1-A4BE-4168-A27D-DDEC92CFFC2E}" dt="2023-11-21T09:39:45.113" v="1255" actId="14100"/>
          <ac:spMkLst>
            <pc:docMk/>
            <pc:sldMk cId="1800175079" sldId="374"/>
            <ac:spMk id="2" creationId="{19E6F11C-333B-DADE-774B-1670D731518B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6:21.710" v="1127" actId="20577"/>
        <pc:sldMkLst>
          <pc:docMk/>
          <pc:sldMk cId="3281914346" sldId="375"/>
        </pc:sldMkLst>
        <pc:spChg chg="add mod">
          <ac:chgData name="Ischanka, Eugen" userId="e4e12248-2210-4459-89e3-acb2dd10c338" providerId="ADAL" clId="{6B007BF1-A4BE-4168-A27D-DDEC92CFFC2E}" dt="2023-11-21T09:36:21.710" v="1127" actId="20577"/>
          <ac:spMkLst>
            <pc:docMk/>
            <pc:sldMk cId="3281914346" sldId="375"/>
            <ac:spMk id="2" creationId="{F22686E2-5265-31F2-2EE1-C640FA12C72D}"/>
          </ac:spMkLst>
        </pc:spChg>
        <pc:spChg chg="mod">
          <ac:chgData name="Ischanka, Eugen" userId="e4e12248-2210-4459-89e3-acb2dd10c338" providerId="ADAL" clId="{6B007BF1-A4BE-4168-A27D-DDEC92CFFC2E}" dt="2023-11-21T09:32:34.026" v="801" actId="20577"/>
          <ac:spMkLst>
            <pc:docMk/>
            <pc:sldMk cId="3281914346" sldId="375"/>
            <ac:spMk id="3" creationId="{815A2E42-F278-EBC7-619F-7C539D7A4621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6:37.610" v="1130" actId="1076"/>
        <pc:sldMkLst>
          <pc:docMk/>
          <pc:sldMk cId="3269083357" sldId="376"/>
        </pc:sldMkLst>
        <pc:spChg chg="add mod">
          <ac:chgData name="Ischanka, Eugen" userId="e4e12248-2210-4459-89e3-acb2dd10c338" providerId="ADAL" clId="{6B007BF1-A4BE-4168-A27D-DDEC92CFFC2E}" dt="2023-11-21T09:36:37.610" v="1130" actId="1076"/>
          <ac:spMkLst>
            <pc:docMk/>
            <pc:sldMk cId="3269083357" sldId="376"/>
            <ac:spMk id="2" creationId="{735F2F2F-3EE0-70C1-F07B-C230CC5ADFBA}"/>
          </ac:spMkLst>
        </pc:spChg>
        <pc:spChg chg="mod">
          <ac:chgData name="Ischanka, Eugen" userId="e4e12248-2210-4459-89e3-acb2dd10c338" providerId="ADAL" clId="{6B007BF1-A4BE-4168-A27D-DDEC92CFFC2E}" dt="2023-11-21T09:32:44.607" v="815" actId="20577"/>
          <ac:spMkLst>
            <pc:docMk/>
            <pc:sldMk cId="3269083357" sldId="376"/>
            <ac:spMk id="3" creationId="{047E2D33-62EC-C94A-ED6A-D41A90FDDF71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3:56.397" v="1051" actId="1076"/>
        <pc:sldMkLst>
          <pc:docMk/>
          <pc:sldMk cId="1621961505" sldId="377"/>
        </pc:sldMkLst>
        <pc:spChg chg="add mod">
          <ac:chgData name="Ischanka, Eugen" userId="e4e12248-2210-4459-89e3-acb2dd10c338" providerId="ADAL" clId="{6B007BF1-A4BE-4168-A27D-DDEC92CFFC2E}" dt="2023-11-21T09:33:56.397" v="1051" actId="1076"/>
          <ac:spMkLst>
            <pc:docMk/>
            <pc:sldMk cId="1621961505" sldId="377"/>
            <ac:spMk id="2" creationId="{7A513624-CB1B-32DF-C7FC-061D2C623346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6:54.954" v="1132" actId="1076"/>
        <pc:sldMkLst>
          <pc:docMk/>
          <pc:sldMk cId="2777772671" sldId="380"/>
        </pc:sldMkLst>
        <pc:spChg chg="add mod">
          <ac:chgData name="Ischanka, Eugen" userId="e4e12248-2210-4459-89e3-acb2dd10c338" providerId="ADAL" clId="{6B007BF1-A4BE-4168-A27D-DDEC92CFFC2E}" dt="2023-11-21T09:36:54.954" v="1132" actId="1076"/>
          <ac:spMkLst>
            <pc:docMk/>
            <pc:sldMk cId="2777772671" sldId="380"/>
            <ac:spMk id="2" creationId="{9DF7CEB8-D455-C04B-5606-281CC6DEA831}"/>
          </ac:spMkLst>
        </pc:spChg>
      </pc:sldChg>
      <pc:sldChg chg="addSp modSp mod">
        <pc:chgData name="Ischanka, Eugen" userId="e4e12248-2210-4459-89e3-acb2dd10c338" providerId="ADAL" clId="{6B007BF1-A4BE-4168-A27D-DDEC92CFFC2E}" dt="2023-11-21T09:53:08.694" v="1682" actId="1076"/>
        <pc:sldMkLst>
          <pc:docMk/>
          <pc:sldMk cId="1582316385" sldId="397"/>
        </pc:sldMkLst>
        <pc:spChg chg="add mod">
          <ac:chgData name="Ischanka, Eugen" userId="e4e12248-2210-4459-89e3-acb2dd10c338" providerId="ADAL" clId="{6B007BF1-A4BE-4168-A27D-DDEC92CFFC2E}" dt="2023-11-21T09:53:08.694" v="1682" actId="1076"/>
          <ac:spMkLst>
            <pc:docMk/>
            <pc:sldMk cId="1582316385" sldId="397"/>
            <ac:spMk id="11" creationId="{B11EBCB6-1EA0-7ACF-307F-F7CDDCBFAF53}"/>
          </ac:spMkLst>
        </pc:spChg>
      </pc:sldChg>
    </pc:docChg>
  </pc:docChgLst>
  <pc:docChgLst>
    <pc:chgData name="Ischanka, Eugen" userId="e4e12248-2210-4459-89e3-acb2dd10c338" providerId="ADAL" clId="{213EC18C-B997-4FF1-87C1-750F45DA6FF1}"/>
    <pc:docChg chg="addSld modSld">
      <pc:chgData name="Ischanka, Eugen" userId="e4e12248-2210-4459-89e3-acb2dd10c338" providerId="ADAL" clId="{213EC18C-B997-4FF1-87C1-750F45DA6FF1}" dt="2023-10-18T15:06:43.629" v="153" actId="20577"/>
      <pc:docMkLst>
        <pc:docMk/>
      </pc:docMkLst>
      <pc:sldChg chg="modSp mod">
        <pc:chgData name="Ischanka, Eugen" userId="e4e12248-2210-4459-89e3-acb2dd10c338" providerId="ADAL" clId="{213EC18C-B997-4FF1-87C1-750F45DA6FF1}" dt="2023-10-17T06:43:53.374" v="23" actId="207"/>
        <pc:sldMkLst>
          <pc:docMk/>
          <pc:sldMk cId="1140176684" sldId="291"/>
        </pc:sldMkLst>
        <pc:spChg chg="mod">
          <ac:chgData name="Ischanka, Eugen" userId="e4e12248-2210-4459-89e3-acb2dd10c338" providerId="ADAL" clId="{213EC18C-B997-4FF1-87C1-750F45DA6FF1}" dt="2023-10-17T06:43:53.374" v="23" actId="207"/>
          <ac:spMkLst>
            <pc:docMk/>
            <pc:sldMk cId="1140176684" sldId="291"/>
            <ac:spMk id="5" creationId="{59819B5E-3049-3612-5C0E-1D8BBF4DF3F1}"/>
          </ac:spMkLst>
        </pc:spChg>
      </pc:sldChg>
      <pc:sldChg chg="modSp mod">
        <pc:chgData name="Ischanka, Eugen" userId="e4e12248-2210-4459-89e3-acb2dd10c338" providerId="ADAL" clId="{213EC18C-B997-4FF1-87C1-750F45DA6FF1}" dt="2023-10-17T06:44:39.727" v="47" actId="207"/>
        <pc:sldMkLst>
          <pc:docMk/>
          <pc:sldMk cId="4174494589" sldId="294"/>
        </pc:sldMkLst>
        <pc:spChg chg="mod">
          <ac:chgData name="Ischanka, Eugen" userId="e4e12248-2210-4459-89e3-acb2dd10c338" providerId="ADAL" clId="{213EC18C-B997-4FF1-87C1-750F45DA6FF1}" dt="2023-10-17T06:44:37.316" v="46" actId="207"/>
          <ac:spMkLst>
            <pc:docMk/>
            <pc:sldMk cId="4174494589" sldId="294"/>
            <ac:spMk id="5" creationId="{1ADDF932-0C90-A023-4A7B-88E7EF7EC3F2}"/>
          </ac:spMkLst>
        </pc:spChg>
        <pc:spChg chg="mod">
          <ac:chgData name="Ischanka, Eugen" userId="e4e12248-2210-4459-89e3-acb2dd10c338" providerId="ADAL" clId="{213EC18C-B997-4FF1-87C1-750F45DA6FF1}" dt="2023-10-17T06:44:39.727" v="47" actId="207"/>
          <ac:spMkLst>
            <pc:docMk/>
            <pc:sldMk cId="4174494589" sldId="294"/>
            <ac:spMk id="7" creationId="{3190920B-1C7B-7342-F9AD-22605E87D762}"/>
          </ac:spMkLst>
        </pc:spChg>
      </pc:sldChg>
      <pc:sldChg chg="modSp mod">
        <pc:chgData name="Ischanka, Eugen" userId="e4e12248-2210-4459-89e3-acb2dd10c338" providerId="ADAL" clId="{213EC18C-B997-4FF1-87C1-750F45DA6FF1}" dt="2023-10-17T06:44:22.697" v="35" actId="207"/>
        <pc:sldMkLst>
          <pc:docMk/>
          <pc:sldMk cId="2083003646" sldId="297"/>
        </pc:sldMkLst>
        <pc:spChg chg="mod">
          <ac:chgData name="Ischanka, Eugen" userId="e4e12248-2210-4459-89e3-acb2dd10c338" providerId="ADAL" clId="{213EC18C-B997-4FF1-87C1-750F45DA6FF1}" dt="2023-10-17T06:44:22.697" v="35" actId="207"/>
          <ac:spMkLst>
            <pc:docMk/>
            <pc:sldMk cId="2083003646" sldId="297"/>
            <ac:spMk id="17" creationId="{BB4CD7A6-37B2-4062-5414-4C4B34609BC4}"/>
          </ac:spMkLst>
        </pc:spChg>
        <pc:spChg chg="mod">
          <ac:chgData name="Ischanka, Eugen" userId="e4e12248-2210-4459-89e3-acb2dd10c338" providerId="ADAL" clId="{213EC18C-B997-4FF1-87C1-750F45DA6FF1}" dt="2023-10-17T06:44:11.666" v="24" actId="207"/>
          <ac:spMkLst>
            <pc:docMk/>
            <pc:sldMk cId="2083003646" sldId="297"/>
            <ac:spMk id="19" creationId="{1D82A695-B7A5-1B16-70FB-C5834852EE2B}"/>
          </ac:spMkLst>
        </pc:spChg>
      </pc:sldChg>
      <pc:sldChg chg="modSp mod">
        <pc:chgData name="Ischanka, Eugen" userId="e4e12248-2210-4459-89e3-acb2dd10c338" providerId="ADAL" clId="{213EC18C-B997-4FF1-87C1-750F45DA6FF1}" dt="2023-10-17T06:43:44.409" v="22" actId="207"/>
        <pc:sldMkLst>
          <pc:docMk/>
          <pc:sldMk cId="1799543034" sldId="299"/>
        </pc:sldMkLst>
        <pc:spChg chg="mod">
          <ac:chgData name="Ischanka, Eugen" userId="e4e12248-2210-4459-89e3-acb2dd10c338" providerId="ADAL" clId="{213EC18C-B997-4FF1-87C1-750F45DA6FF1}" dt="2023-10-17T06:43:44.409" v="22" actId="207"/>
          <ac:spMkLst>
            <pc:docMk/>
            <pc:sldMk cId="1799543034" sldId="299"/>
            <ac:spMk id="5" creationId="{9AD47E5E-D272-68B6-41A3-23AFF9EE70D0}"/>
          </ac:spMkLst>
        </pc:spChg>
      </pc:sldChg>
      <pc:sldChg chg="modSp mod">
        <pc:chgData name="Ischanka, Eugen" userId="e4e12248-2210-4459-89e3-acb2dd10c338" providerId="ADAL" clId="{213EC18C-B997-4FF1-87C1-750F45DA6FF1}" dt="2023-10-17T06:45:04.752" v="49" actId="207"/>
        <pc:sldMkLst>
          <pc:docMk/>
          <pc:sldMk cId="2711317261" sldId="303"/>
        </pc:sldMkLst>
        <pc:spChg chg="mod">
          <ac:chgData name="Ischanka, Eugen" userId="e4e12248-2210-4459-89e3-acb2dd10c338" providerId="ADAL" clId="{213EC18C-B997-4FF1-87C1-750F45DA6FF1}" dt="2023-10-17T06:45:04.752" v="49" actId="207"/>
          <ac:spMkLst>
            <pc:docMk/>
            <pc:sldMk cId="2711317261" sldId="303"/>
            <ac:spMk id="8" creationId="{C828DD87-CC9F-9712-63AE-4AEE50069296}"/>
          </ac:spMkLst>
        </pc:spChg>
      </pc:sldChg>
      <pc:sldChg chg="modSp mod">
        <pc:chgData name="Ischanka, Eugen" userId="e4e12248-2210-4459-89e3-acb2dd10c338" providerId="ADAL" clId="{213EC18C-B997-4FF1-87C1-750F45DA6FF1}" dt="2023-10-17T06:44:57.931" v="48" actId="1076"/>
        <pc:sldMkLst>
          <pc:docMk/>
          <pc:sldMk cId="3893680440" sldId="304"/>
        </pc:sldMkLst>
        <pc:spChg chg="mod">
          <ac:chgData name="Ischanka, Eugen" userId="e4e12248-2210-4459-89e3-acb2dd10c338" providerId="ADAL" clId="{213EC18C-B997-4FF1-87C1-750F45DA6FF1}" dt="2023-10-17T06:44:57.931" v="48" actId="1076"/>
          <ac:spMkLst>
            <pc:docMk/>
            <pc:sldMk cId="3893680440" sldId="304"/>
            <ac:spMk id="8" creationId="{DE683D52-A8DE-CEA4-34A6-EE77D096E06C}"/>
          </ac:spMkLst>
        </pc:spChg>
      </pc:sldChg>
      <pc:sldChg chg="modSp mod">
        <pc:chgData name="Ischanka, Eugen" userId="e4e12248-2210-4459-89e3-acb2dd10c338" providerId="ADAL" clId="{213EC18C-B997-4FF1-87C1-750F45DA6FF1}" dt="2023-10-17T06:41:33.439" v="1" actId="27107"/>
        <pc:sldMkLst>
          <pc:docMk/>
          <pc:sldMk cId="591752906" sldId="305"/>
        </pc:sldMkLst>
        <pc:spChg chg="mod">
          <ac:chgData name="Ischanka, Eugen" userId="e4e12248-2210-4459-89e3-acb2dd10c338" providerId="ADAL" clId="{213EC18C-B997-4FF1-87C1-750F45DA6FF1}" dt="2023-10-17T06:41:33.439" v="1" actId="27107"/>
          <ac:spMkLst>
            <pc:docMk/>
            <pc:sldMk cId="591752906" sldId="305"/>
            <ac:spMk id="11" creationId="{4997980C-EDF4-6993-0214-7F325C9B36DC}"/>
          </ac:spMkLst>
        </pc:spChg>
      </pc:sldChg>
      <pc:sldChg chg="modSp new mod">
        <pc:chgData name="Ischanka, Eugen" userId="e4e12248-2210-4459-89e3-acb2dd10c338" providerId="ADAL" clId="{213EC18C-B997-4FF1-87C1-750F45DA6FF1}" dt="2023-10-18T15:06:43.629" v="153" actId="20577"/>
        <pc:sldMkLst>
          <pc:docMk/>
          <pc:sldMk cId="4161454125" sldId="306"/>
        </pc:sldMkLst>
        <pc:spChg chg="mod">
          <ac:chgData name="Ischanka, Eugen" userId="e4e12248-2210-4459-89e3-acb2dd10c338" providerId="ADAL" clId="{213EC18C-B997-4FF1-87C1-750F45DA6FF1}" dt="2023-10-18T15:06:43.629" v="153" actId="20577"/>
          <ac:spMkLst>
            <pc:docMk/>
            <pc:sldMk cId="4161454125" sldId="306"/>
            <ac:spMk id="2" creationId="{711F0CD0-756F-A11D-3223-DF5C30CB6F8D}"/>
          </ac:spMkLst>
        </pc:spChg>
      </pc:sldChg>
    </pc:docChg>
  </pc:docChgLst>
  <pc:docChgLst>
    <pc:chgData name="Karkaba, Ali" userId="fa222b13-d879-44b1-af5a-d37867fdb466" providerId="ADAL" clId="{3636E1DF-6B5B-4800-B98F-3AFD030723CF}"/>
    <pc:docChg chg="modSld sldOrd">
      <pc:chgData name="Karkaba, Ali" userId="fa222b13-d879-44b1-af5a-d37867fdb466" providerId="ADAL" clId="{3636E1DF-6B5B-4800-B98F-3AFD030723CF}" dt="2023-11-21T08:32:48.758" v="8"/>
      <pc:docMkLst>
        <pc:docMk/>
      </pc:docMkLst>
      <pc:sldChg chg="modSp mod">
        <pc:chgData name="Karkaba, Ali" userId="fa222b13-d879-44b1-af5a-d37867fdb466" providerId="ADAL" clId="{3636E1DF-6B5B-4800-B98F-3AFD030723CF}" dt="2023-11-20T15:43:25.936" v="6" actId="1076"/>
        <pc:sldMkLst>
          <pc:docMk/>
          <pc:sldMk cId="1816946488" sldId="353"/>
        </pc:sldMkLst>
        <pc:spChg chg="mod">
          <ac:chgData name="Karkaba, Ali" userId="fa222b13-d879-44b1-af5a-d37867fdb466" providerId="ADAL" clId="{3636E1DF-6B5B-4800-B98F-3AFD030723CF}" dt="2023-11-20T15:43:25.936" v="6" actId="1076"/>
          <ac:spMkLst>
            <pc:docMk/>
            <pc:sldMk cId="1816946488" sldId="353"/>
            <ac:spMk id="10" creationId="{026E4F25-DC3B-F9BC-C487-359382D2D60C}"/>
          </ac:spMkLst>
        </pc:spChg>
      </pc:sldChg>
      <pc:sldChg chg="ord">
        <pc:chgData name="Karkaba, Ali" userId="fa222b13-d879-44b1-af5a-d37867fdb466" providerId="ADAL" clId="{3636E1DF-6B5B-4800-B98F-3AFD030723CF}" dt="2023-11-21T08:32:48.758" v="8"/>
        <pc:sldMkLst>
          <pc:docMk/>
          <pc:sldMk cId="2327630279" sldId="373"/>
        </pc:sldMkLst>
      </pc:sldChg>
      <pc:sldChg chg="modSp mod">
        <pc:chgData name="Karkaba, Ali" userId="fa222b13-d879-44b1-af5a-d37867fdb466" providerId="ADAL" clId="{3636E1DF-6B5B-4800-B98F-3AFD030723CF}" dt="2023-11-20T15:09:52.049" v="5" actId="20577"/>
        <pc:sldMkLst>
          <pc:docMk/>
          <pc:sldMk cId="1621961505" sldId="377"/>
        </pc:sldMkLst>
        <pc:graphicFrameChg chg="modGraphic">
          <ac:chgData name="Karkaba, Ali" userId="fa222b13-d879-44b1-af5a-d37867fdb466" providerId="ADAL" clId="{3636E1DF-6B5B-4800-B98F-3AFD030723CF}" dt="2023-11-20T15:09:52.049" v="5" actId="20577"/>
          <ac:graphicFrameMkLst>
            <pc:docMk/>
            <pc:sldMk cId="1621961505" sldId="377"/>
            <ac:graphicFrameMk id="13" creationId="{B9CBF595-39E4-F6F5-3D46-AE4FCCA8EDBF}"/>
          </ac:graphicFrameMkLst>
        </pc:graphicFrameChg>
      </pc:sldChg>
    </pc:docChg>
  </pc:docChgLst>
  <pc:docChgLst>
    <pc:chgData name="Ischanka, Eugen" userId="e4e12248-2210-4459-89e3-acb2dd10c338" providerId="ADAL" clId="{906CDAFC-ACE8-4E16-A441-1ACFB76FEAE2}"/>
    <pc:docChg chg="custSel addSld delSld modSld modSection">
      <pc:chgData name="Ischanka, Eugen" userId="e4e12248-2210-4459-89e3-acb2dd10c338" providerId="ADAL" clId="{906CDAFC-ACE8-4E16-A441-1ACFB76FEAE2}" dt="2023-12-20T14:27:33.163" v="21" actId="47"/>
      <pc:docMkLst>
        <pc:docMk/>
      </pc:docMkLst>
      <pc:sldChg chg="modSp mod">
        <pc:chgData name="Ischanka, Eugen" userId="e4e12248-2210-4459-89e3-acb2dd10c338" providerId="ADAL" clId="{906CDAFC-ACE8-4E16-A441-1ACFB76FEAE2}" dt="2023-12-20T08:49:49.752" v="0" actId="1076"/>
        <pc:sldMkLst>
          <pc:docMk/>
          <pc:sldMk cId="2222467040" sldId="435"/>
        </pc:sldMkLst>
        <pc:spChg chg="mod">
          <ac:chgData name="Ischanka, Eugen" userId="e4e12248-2210-4459-89e3-acb2dd10c338" providerId="ADAL" clId="{906CDAFC-ACE8-4E16-A441-1ACFB76FEAE2}" dt="2023-12-20T08:49:49.752" v="0" actId="1076"/>
          <ac:spMkLst>
            <pc:docMk/>
            <pc:sldMk cId="2222467040" sldId="435"/>
            <ac:spMk id="2" creationId="{3252B6CA-B4C9-8350-A95A-81A06EA21956}"/>
          </ac:spMkLst>
        </pc:spChg>
      </pc:sldChg>
      <pc:sldChg chg="addSp delSp modSp new del mod">
        <pc:chgData name="Ischanka, Eugen" userId="e4e12248-2210-4459-89e3-acb2dd10c338" providerId="ADAL" clId="{906CDAFC-ACE8-4E16-A441-1ACFB76FEAE2}" dt="2023-12-20T13:36:27.263" v="5" actId="47"/>
        <pc:sldMkLst>
          <pc:docMk/>
          <pc:sldMk cId="1339690940" sldId="443"/>
        </pc:sldMkLst>
        <pc:spChg chg="del">
          <ac:chgData name="Ischanka, Eugen" userId="e4e12248-2210-4459-89e3-acb2dd10c338" providerId="ADAL" clId="{906CDAFC-ACE8-4E16-A441-1ACFB76FEAE2}" dt="2023-12-20T13:32:14.143" v="3"/>
          <ac:spMkLst>
            <pc:docMk/>
            <pc:sldMk cId="1339690940" sldId="443"/>
            <ac:spMk id="2" creationId="{6734EB8C-F5BF-D230-4BCE-2D4FE1D1AA21}"/>
          </ac:spMkLst>
        </pc:spChg>
        <pc:spChg chg="add mod">
          <ac:chgData name="Ischanka, Eugen" userId="e4e12248-2210-4459-89e3-acb2dd10c338" providerId="ADAL" clId="{906CDAFC-ACE8-4E16-A441-1ACFB76FEAE2}" dt="2023-12-20T13:33:27.809" v="4" actId="478"/>
          <ac:spMkLst>
            <pc:docMk/>
            <pc:sldMk cId="1339690940" sldId="443"/>
            <ac:spMk id="7" creationId="{953C2B4B-FB31-DC09-FF98-D32CF639B8DC}"/>
          </ac:spMkLst>
        </pc:spChg>
        <pc:graphicFrameChg chg="add del mod">
          <ac:chgData name="Ischanka, Eugen" userId="e4e12248-2210-4459-89e3-acb2dd10c338" providerId="ADAL" clId="{906CDAFC-ACE8-4E16-A441-1ACFB76FEAE2}" dt="2023-12-20T13:33:27.809" v="4" actId="478"/>
          <ac:graphicFrameMkLst>
            <pc:docMk/>
            <pc:sldMk cId="1339690940" sldId="443"/>
            <ac:graphicFrameMk id="5" creationId="{74EF0C76-5D0B-D98C-9994-232DB68CA9CE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4:06:00.273" v="13" actId="47"/>
        <pc:sldMkLst>
          <pc:docMk/>
          <pc:sldMk cId="1888851309" sldId="443"/>
        </pc:sldMkLst>
        <pc:spChg chg="del">
          <ac:chgData name="Ischanka, Eugen" userId="e4e12248-2210-4459-89e3-acb2dd10c338" providerId="ADAL" clId="{906CDAFC-ACE8-4E16-A441-1ACFB76FEAE2}" dt="2023-12-20T14:05:47.533" v="12"/>
          <ac:spMkLst>
            <pc:docMk/>
            <pc:sldMk cId="1888851309" sldId="443"/>
            <ac:spMk id="2" creationId="{75610235-0C88-D35C-05F2-70BFCCA1D5F7}"/>
          </ac:spMkLst>
        </pc:spChg>
        <pc:graphicFrameChg chg="add mod">
          <ac:chgData name="Ischanka, Eugen" userId="e4e12248-2210-4459-89e3-acb2dd10c338" providerId="ADAL" clId="{906CDAFC-ACE8-4E16-A441-1ACFB76FEAE2}" dt="2023-12-20T14:05:47.533" v="12"/>
          <ac:graphicFrameMkLst>
            <pc:docMk/>
            <pc:sldMk cId="1888851309" sldId="443"/>
            <ac:graphicFrameMk id="5" creationId="{FE7D394D-3066-55B3-F991-856218573632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4:06:34.397" v="17" actId="47"/>
        <pc:sldMkLst>
          <pc:docMk/>
          <pc:sldMk cId="2676293631" sldId="443"/>
        </pc:sldMkLst>
        <pc:spChg chg="del">
          <ac:chgData name="Ischanka, Eugen" userId="e4e12248-2210-4459-89e3-acb2dd10c338" providerId="ADAL" clId="{906CDAFC-ACE8-4E16-A441-1ACFB76FEAE2}" dt="2023-12-20T14:06:24.842" v="16"/>
          <ac:spMkLst>
            <pc:docMk/>
            <pc:sldMk cId="2676293631" sldId="443"/>
            <ac:spMk id="2" creationId="{D2AF2B62-F192-1E93-8D41-9486B8024723}"/>
          </ac:spMkLst>
        </pc:spChg>
        <pc:graphicFrameChg chg="add mod">
          <ac:chgData name="Ischanka, Eugen" userId="e4e12248-2210-4459-89e3-acb2dd10c338" providerId="ADAL" clId="{906CDAFC-ACE8-4E16-A441-1ACFB76FEAE2}" dt="2023-12-20T14:06:24.842" v="16"/>
          <ac:graphicFrameMkLst>
            <pc:docMk/>
            <pc:sldMk cId="2676293631" sldId="443"/>
            <ac:graphicFrameMk id="5" creationId="{FE7D394D-3066-55B3-F991-856218573632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3:56:15.590" v="9" actId="47"/>
        <pc:sldMkLst>
          <pc:docMk/>
          <pc:sldMk cId="2973010346" sldId="443"/>
        </pc:sldMkLst>
        <pc:spChg chg="del">
          <ac:chgData name="Ischanka, Eugen" userId="e4e12248-2210-4459-89e3-acb2dd10c338" providerId="ADAL" clId="{906CDAFC-ACE8-4E16-A441-1ACFB76FEAE2}" dt="2023-12-20T13:56:05.125" v="8"/>
          <ac:spMkLst>
            <pc:docMk/>
            <pc:sldMk cId="2973010346" sldId="443"/>
            <ac:spMk id="2" creationId="{E1DAD2FA-525C-3E9C-843D-169FF91E20BF}"/>
          </ac:spMkLst>
        </pc:spChg>
        <pc:graphicFrameChg chg="add mod">
          <ac:chgData name="Ischanka, Eugen" userId="e4e12248-2210-4459-89e3-acb2dd10c338" providerId="ADAL" clId="{906CDAFC-ACE8-4E16-A441-1ACFB76FEAE2}" dt="2023-12-20T13:56:05.125" v="8"/>
          <ac:graphicFrameMkLst>
            <pc:docMk/>
            <pc:sldMk cId="2973010346" sldId="443"/>
            <ac:graphicFrameMk id="5" creationId="{148C7DB5-C7EB-4434-3930-ACF94669F7F8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4:27:33.163" v="21" actId="47"/>
        <pc:sldMkLst>
          <pc:docMk/>
          <pc:sldMk cId="4278079417" sldId="443"/>
        </pc:sldMkLst>
        <pc:spChg chg="del">
          <ac:chgData name="Ischanka, Eugen" userId="e4e12248-2210-4459-89e3-acb2dd10c338" providerId="ADAL" clId="{906CDAFC-ACE8-4E16-A441-1ACFB76FEAE2}" dt="2023-12-20T14:27:16.883" v="20"/>
          <ac:spMkLst>
            <pc:docMk/>
            <pc:sldMk cId="4278079417" sldId="443"/>
            <ac:spMk id="2" creationId="{50FA63CB-152C-C44D-9D8A-34816BA508D9}"/>
          </ac:spMkLst>
        </pc:spChg>
        <pc:graphicFrameChg chg="add mod">
          <ac:chgData name="Ischanka, Eugen" userId="e4e12248-2210-4459-89e3-acb2dd10c338" providerId="ADAL" clId="{906CDAFC-ACE8-4E16-A441-1ACFB76FEAE2}" dt="2023-12-20T14:27:16.883" v="20"/>
          <ac:graphicFrameMkLst>
            <pc:docMk/>
            <pc:sldMk cId="4278079417" sldId="443"/>
            <ac:graphicFrameMk id="5" creationId="{BA108B2A-1E8A-F66C-E45F-B40D8390F096}"/>
          </ac:graphicFrameMkLst>
        </pc:graphicFrameChg>
      </pc:sldChg>
    </pc:docChg>
  </pc:docChgLst>
  <pc:docChgLst>
    <pc:chgData name="Karkaba, Ali" userId="S::a.karkaba@gebhardt-group.com::fa222b13-d879-44b1-af5a-d37867fdb466" providerId="AD" clId="Web-{A533E6A4-D56B-4A2C-9594-511F99CCA9E0}"/>
    <pc:docChg chg="addSld delSld modSld modSection">
      <pc:chgData name="Karkaba, Ali" userId="S::a.karkaba@gebhardt-group.com::fa222b13-d879-44b1-af5a-d37867fdb466" providerId="AD" clId="Web-{A533E6A4-D56B-4A2C-9594-511F99CCA9E0}" dt="2023-11-06T12:39:16.226" v="71"/>
      <pc:docMkLst>
        <pc:docMk/>
      </pc:docMkLst>
      <pc:sldChg chg="addSp delSp modSp">
        <pc:chgData name="Karkaba, Ali" userId="S::a.karkaba@gebhardt-group.com::fa222b13-d879-44b1-af5a-d37867fdb466" providerId="AD" clId="Web-{A533E6A4-D56B-4A2C-9594-511F99CCA9E0}" dt="2023-11-06T11:22:12.741" v="14" actId="1076"/>
        <pc:sldMkLst>
          <pc:docMk/>
          <pc:sldMk cId="116212042" sldId="325"/>
        </pc:sldMkLst>
        <pc:spChg chg="add del">
          <ac:chgData name="Karkaba, Ali" userId="S::a.karkaba@gebhardt-group.com::fa222b13-d879-44b1-af5a-d37867fdb466" providerId="AD" clId="Web-{A533E6A4-D56B-4A2C-9594-511F99CCA9E0}" dt="2023-11-06T11:21:06.678" v="9"/>
          <ac:spMkLst>
            <pc:docMk/>
            <pc:sldMk cId="116212042" sldId="325"/>
            <ac:spMk id="6" creationId="{88DEB260-19E8-10DF-DA53-6025E3C864A7}"/>
          </ac:spMkLst>
        </pc:spChg>
        <pc:spChg chg="add del mod">
          <ac:chgData name="Karkaba, Ali" userId="S::a.karkaba@gebhardt-group.com::fa222b13-d879-44b1-af5a-d37867fdb466" providerId="AD" clId="Web-{A533E6A4-D56B-4A2C-9594-511F99CCA9E0}" dt="2023-11-06T11:21:05.287" v="8"/>
          <ac:spMkLst>
            <pc:docMk/>
            <pc:sldMk cId="116212042" sldId="325"/>
            <ac:spMk id="7" creationId="{4D38750C-E591-A53B-C7F6-9F579F4114E2}"/>
          </ac:spMkLst>
        </pc:spChg>
        <pc:picChg chg="mod">
          <ac:chgData name="Karkaba, Ali" userId="S::a.karkaba@gebhardt-group.com::fa222b13-d879-44b1-af5a-d37867fdb466" providerId="AD" clId="Web-{A533E6A4-D56B-4A2C-9594-511F99CCA9E0}" dt="2023-11-06T11:21:36.069" v="12" actId="1076"/>
          <ac:picMkLst>
            <pc:docMk/>
            <pc:sldMk cId="116212042" sldId="325"/>
            <ac:picMk id="2" creationId="{9526372A-E808-303A-370F-1F777BEC3A3C}"/>
          </ac:picMkLst>
        </pc:picChg>
        <pc:picChg chg="mod">
          <ac:chgData name="Karkaba, Ali" userId="S::a.karkaba@gebhardt-group.com::fa222b13-d879-44b1-af5a-d37867fdb466" providerId="AD" clId="Web-{A533E6A4-D56B-4A2C-9594-511F99CCA9E0}" dt="2023-11-06T11:22:12.741" v="14" actId="1076"/>
          <ac:picMkLst>
            <pc:docMk/>
            <pc:sldMk cId="116212042" sldId="325"/>
            <ac:picMk id="12" creationId="{CD7CD53A-A887-D0F2-B256-F68583D310C9}"/>
          </ac:picMkLst>
        </pc:picChg>
      </pc:sldChg>
      <pc:sldChg chg="addSp delSp modSp del">
        <pc:chgData name="Karkaba, Ali" userId="S::a.karkaba@gebhardt-group.com::fa222b13-d879-44b1-af5a-d37867fdb466" providerId="AD" clId="Web-{A533E6A4-D56B-4A2C-9594-511F99CCA9E0}" dt="2023-11-06T12:39:08.429" v="69"/>
        <pc:sldMkLst>
          <pc:docMk/>
          <pc:sldMk cId="3972424466" sldId="326"/>
        </pc:sldMkLst>
        <pc:spChg chg="mod">
          <ac:chgData name="Karkaba, Ali" userId="S::a.karkaba@gebhardt-group.com::fa222b13-d879-44b1-af5a-d37867fdb466" providerId="AD" clId="Web-{A533E6A4-D56B-4A2C-9594-511F99CCA9E0}" dt="2023-11-06T11:31:19.860" v="65" actId="1076"/>
          <ac:spMkLst>
            <pc:docMk/>
            <pc:sldMk cId="3972424466" sldId="326"/>
            <ac:spMk id="2" creationId="{9FD1D2B3-4889-691A-E699-B1B8B8BCB629}"/>
          </ac:spMkLst>
        </pc:spChg>
        <pc:spChg chg="add del">
          <ac:chgData name="Karkaba, Ali" userId="S::a.karkaba@gebhardt-group.com::fa222b13-d879-44b1-af5a-d37867fdb466" providerId="AD" clId="Web-{A533E6A4-D56B-4A2C-9594-511F99CCA9E0}" dt="2023-11-06T11:21:14.178" v="10"/>
          <ac:spMkLst>
            <pc:docMk/>
            <pc:sldMk cId="3972424466" sldId="326"/>
            <ac:spMk id="6" creationId="{88DEB260-19E8-10DF-DA53-6025E3C864A7}"/>
          </ac:spMkLst>
        </pc:spChg>
        <pc:spChg chg="add del mod">
          <ac:chgData name="Karkaba, Ali" userId="S::a.karkaba@gebhardt-group.com::fa222b13-d879-44b1-af5a-d37867fdb466" providerId="AD" clId="Web-{A533E6A4-D56B-4A2C-9594-511F99CCA9E0}" dt="2023-11-06T11:25:35.917" v="21"/>
          <ac:spMkLst>
            <pc:docMk/>
            <pc:sldMk cId="3972424466" sldId="326"/>
            <ac:spMk id="8" creationId="{CB061694-1222-F646-FC54-5EE19962B323}"/>
          </ac:spMkLst>
        </pc:spChg>
        <pc:spChg chg="add mod">
          <ac:chgData name="Karkaba, Ali" userId="S::a.karkaba@gebhardt-group.com::fa222b13-d879-44b1-af5a-d37867fdb466" providerId="AD" clId="Web-{A533E6A4-D56B-4A2C-9594-511F99CCA9E0}" dt="2023-11-06T11:29:19.967" v="64" actId="1076"/>
          <ac:spMkLst>
            <pc:docMk/>
            <pc:sldMk cId="3972424466" sldId="326"/>
            <ac:spMk id="11" creationId="{23ED8909-AD56-D9C2-37AB-AD510BE75743}"/>
          </ac:spMkLst>
        </pc:spChg>
      </pc:sldChg>
      <pc:sldChg chg="delSp del">
        <pc:chgData name="Karkaba, Ali" userId="S::a.karkaba@gebhardt-group.com::fa222b13-d879-44b1-af5a-d37867fdb466" providerId="AD" clId="Web-{A533E6A4-D56B-4A2C-9594-511F99CCA9E0}" dt="2023-11-06T12:39:10.491" v="70"/>
        <pc:sldMkLst>
          <pc:docMk/>
          <pc:sldMk cId="2091844764" sldId="331"/>
        </pc:sldMkLst>
        <pc:spChg chg="del">
          <ac:chgData name="Karkaba, Ali" userId="S::a.karkaba@gebhardt-group.com::fa222b13-d879-44b1-af5a-d37867fdb466" providerId="AD" clId="Web-{A533E6A4-D56B-4A2C-9594-511F99CCA9E0}" dt="2023-11-06T11:21:18.381" v="11"/>
          <ac:spMkLst>
            <pc:docMk/>
            <pc:sldMk cId="2091844764" sldId="331"/>
            <ac:spMk id="6" creationId="{88DEB260-19E8-10DF-DA53-6025E3C864A7}"/>
          </ac:spMkLst>
        </pc:spChg>
      </pc:sldChg>
      <pc:sldChg chg="add">
        <pc:chgData name="Karkaba, Ali" userId="S::a.karkaba@gebhardt-group.com::fa222b13-d879-44b1-af5a-d37867fdb466" providerId="AD" clId="Web-{A533E6A4-D56B-4A2C-9594-511F99CCA9E0}" dt="2023-11-06T12:27:29.050" v="66"/>
        <pc:sldMkLst>
          <pc:docMk/>
          <pc:sldMk cId="2765954015" sldId="335"/>
        </pc:sldMkLst>
      </pc:sldChg>
      <pc:sldChg chg="add">
        <pc:chgData name="Karkaba, Ali" userId="S::a.karkaba@gebhardt-group.com::fa222b13-d879-44b1-af5a-d37867fdb466" providerId="AD" clId="Web-{A533E6A4-D56B-4A2C-9594-511F99CCA9E0}" dt="2023-11-06T12:27:35.847" v="67"/>
        <pc:sldMkLst>
          <pc:docMk/>
          <pc:sldMk cId="984707140" sldId="336"/>
        </pc:sldMkLst>
      </pc:sldChg>
      <pc:sldChg chg="add">
        <pc:chgData name="Karkaba, Ali" userId="S::a.karkaba@gebhardt-group.com::fa222b13-d879-44b1-af5a-d37867fdb466" providerId="AD" clId="Web-{A533E6A4-D56B-4A2C-9594-511F99CCA9E0}" dt="2023-11-06T12:38:57.444" v="68"/>
        <pc:sldMkLst>
          <pc:docMk/>
          <pc:sldMk cId="3349682261" sldId="337"/>
        </pc:sldMkLst>
      </pc:sldChg>
      <pc:sldChg chg="add">
        <pc:chgData name="Karkaba, Ali" userId="S::a.karkaba@gebhardt-group.com::fa222b13-d879-44b1-af5a-d37867fdb466" providerId="AD" clId="Web-{A533E6A4-D56B-4A2C-9594-511F99CCA9E0}" dt="2023-11-06T12:39:16.226" v="71"/>
        <pc:sldMkLst>
          <pc:docMk/>
          <pc:sldMk cId="1332374113" sldId="338"/>
        </pc:sldMkLst>
      </pc:sldChg>
    </pc:docChg>
  </pc:docChgLst>
  <pc:docChgLst>
    <pc:chgData name="Ischanka, Eugen" userId="e4e12248-2210-4459-89e3-acb2dd10c338" providerId="ADAL" clId="{50398678-1125-4921-BC2E-56DEFA904AD2}"/>
    <pc:docChg chg="undo redo custSel addSld delSld modSld sldOrd addSection delSection modSection">
      <pc:chgData name="Ischanka, Eugen" userId="e4e12248-2210-4459-89e3-acb2dd10c338" providerId="ADAL" clId="{50398678-1125-4921-BC2E-56DEFA904AD2}" dt="2023-11-20T16:58:38.208" v="25974" actId="20577"/>
      <pc:docMkLst>
        <pc:docMk/>
      </pc:docMkLst>
      <pc:sldChg chg="mod ord modShow">
        <pc:chgData name="Ischanka, Eugen" userId="e4e12248-2210-4459-89e3-acb2dd10c338" providerId="ADAL" clId="{50398678-1125-4921-BC2E-56DEFA904AD2}" dt="2023-11-17T16:16:47.873" v="12880" actId="729"/>
        <pc:sldMkLst>
          <pc:docMk/>
          <pc:sldMk cId="879433821" sldId="283"/>
        </pc:sldMkLst>
      </pc:sldChg>
      <pc:sldChg chg="modSp del mod ord">
        <pc:chgData name="Ischanka, Eugen" userId="e4e12248-2210-4459-89e3-acb2dd10c338" providerId="ADAL" clId="{50398678-1125-4921-BC2E-56DEFA904AD2}" dt="2023-11-17T16:16:43.771" v="12879" actId="47"/>
        <pc:sldMkLst>
          <pc:docMk/>
          <pc:sldMk cId="14659807" sldId="290"/>
        </pc:sldMkLst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11" creationId="{52D0D693-CC57-3BAE-EC15-B2FC4EB6F79D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16" creationId="{CA21B348-D798-C026-1330-C855B41A5541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19" creationId="{0E5D1A12-A34E-053E-8371-1DE7CAE0D689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20" creationId="{02F748E7-DCEE-C988-D3C3-E28ACF4645A6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28" creationId="{93F61A5E-6158-A1BF-C759-36BD545FDBC2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30" creationId="{C128BD16-E30C-4159-935A-B65D47B78621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32" creationId="{920BD350-04E9-2C95-918E-412A0DFB9E85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37" creationId="{A051B5AA-50CC-4DBD-C450-237CBADEDAA6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38" creationId="{6E059A38-D7D4-EA4D-B861-05BDF5642774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39" creationId="{77E9AE00-D012-083A-A790-367F2D977C06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40" creationId="{4458E871-0AC9-66DF-1426-1786DC835D87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41" creationId="{0DE0EFC3-BB7E-86FF-01BF-CFDA8D8F1327}"/>
          </ac:spMkLst>
        </pc:spChg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140176684" sldId="291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4174494589" sldId="294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083003646" sldId="297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696958342" sldId="298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799543034" sldId="299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986798096" sldId="300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38135665" sldId="301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535292970" sldId="302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711317261" sldId="303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893680440" sldId="304"/>
        </pc:sldMkLst>
      </pc:sldChg>
      <pc:sldChg chg="del mod modShow">
        <pc:chgData name="Ischanka, Eugen" userId="e4e12248-2210-4459-89e3-acb2dd10c338" providerId="ADAL" clId="{50398678-1125-4921-BC2E-56DEFA904AD2}" dt="2023-11-06T10:57:11.111" v="1347" actId="47"/>
        <pc:sldMkLst>
          <pc:docMk/>
          <pc:sldMk cId="591752906" sldId="305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200656267" sldId="306"/>
        </pc:sldMkLst>
      </pc:sldChg>
      <pc:sldChg chg="modSp 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839034917" sldId="307"/>
        </pc:sldMkLst>
        <pc:picChg chg="mod">
          <ac:chgData name="Ischanka, Eugen" userId="e4e12248-2210-4459-89e3-acb2dd10c338" providerId="ADAL" clId="{50398678-1125-4921-BC2E-56DEFA904AD2}" dt="2023-11-03T09:04:56.403" v="242" actId="1076"/>
          <ac:picMkLst>
            <pc:docMk/>
            <pc:sldMk cId="2839034917" sldId="307"/>
            <ac:picMk id="7" creationId="{344F986C-AB7B-E53D-2D25-A22C57FD9A2A}"/>
          </ac:picMkLst>
        </pc:picChg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863125966" sldId="308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593439388" sldId="309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322778520" sldId="310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458051157" sldId="311"/>
        </pc:sldMkLst>
      </pc:sldChg>
      <pc:sldChg chg="addSp delSp modSp new del mod modClrScheme chgLayout">
        <pc:chgData name="Ischanka, Eugen" userId="e4e12248-2210-4459-89e3-acb2dd10c338" providerId="ADAL" clId="{50398678-1125-4921-BC2E-56DEFA904AD2}" dt="2023-11-17T16:16:43.771" v="12879" actId="47"/>
        <pc:sldMkLst>
          <pc:docMk/>
          <pc:sldMk cId="3429474315" sldId="312"/>
        </pc:sldMkLst>
        <pc:spChg chg="del">
          <ac:chgData name="Ischanka, Eugen" userId="e4e12248-2210-4459-89e3-acb2dd10c338" providerId="ADAL" clId="{50398678-1125-4921-BC2E-56DEFA904AD2}" dt="2023-11-03T07:13:53.927" v="5" actId="700"/>
          <ac:spMkLst>
            <pc:docMk/>
            <pc:sldMk cId="3429474315" sldId="312"/>
            <ac:spMk id="2" creationId="{4C51A7D7-CAFA-2494-E75D-A845849D0978}"/>
          </ac:spMkLst>
        </pc:spChg>
        <pc:spChg chg="add mod">
          <ac:chgData name="Ischanka, Eugen" userId="e4e12248-2210-4459-89e3-acb2dd10c338" providerId="ADAL" clId="{50398678-1125-4921-BC2E-56DEFA904AD2}" dt="2023-11-06T13:06:53.344" v="2511" actId="1076"/>
          <ac:spMkLst>
            <pc:docMk/>
            <pc:sldMk cId="3429474315" sldId="312"/>
            <ac:spMk id="2" creationId="{F686FF75-F324-5400-9B69-9F8969E9D750}"/>
          </ac:spMkLst>
        </pc:spChg>
        <pc:spChg chg="del mod ord">
          <ac:chgData name="Ischanka, Eugen" userId="e4e12248-2210-4459-89e3-acb2dd10c338" providerId="ADAL" clId="{50398678-1125-4921-BC2E-56DEFA904AD2}" dt="2023-11-03T07:13:53.927" v="5" actId="700"/>
          <ac:spMkLst>
            <pc:docMk/>
            <pc:sldMk cId="3429474315" sldId="312"/>
            <ac:spMk id="3" creationId="{2F11131D-6C9D-C7A6-4535-75602580F6E8}"/>
          </ac:spMkLst>
        </pc:spChg>
        <pc:spChg chg="del mod ord">
          <ac:chgData name="Ischanka, Eugen" userId="e4e12248-2210-4459-89e3-acb2dd10c338" providerId="ADAL" clId="{50398678-1125-4921-BC2E-56DEFA904AD2}" dt="2023-11-03T07:13:53.927" v="5" actId="700"/>
          <ac:spMkLst>
            <pc:docMk/>
            <pc:sldMk cId="3429474315" sldId="312"/>
            <ac:spMk id="4" creationId="{87A41A49-8CB6-5C5C-5227-8CFA51C72958}"/>
          </ac:spMkLst>
        </pc:spChg>
        <pc:spChg chg="add del mod ord">
          <ac:chgData name="Ischanka, Eugen" userId="e4e12248-2210-4459-89e3-acb2dd10c338" providerId="ADAL" clId="{50398678-1125-4921-BC2E-56DEFA904AD2}" dt="2023-11-03T07:15:42.553" v="9" actId="700"/>
          <ac:spMkLst>
            <pc:docMk/>
            <pc:sldMk cId="3429474315" sldId="312"/>
            <ac:spMk id="5" creationId="{AFE99B93-4472-FF20-5920-32B746E0DEA1}"/>
          </ac:spMkLst>
        </pc:spChg>
        <pc:spChg chg="add del mod ord">
          <ac:chgData name="Ischanka, Eugen" userId="e4e12248-2210-4459-89e3-acb2dd10c338" providerId="ADAL" clId="{50398678-1125-4921-BC2E-56DEFA904AD2}" dt="2023-11-03T07:15:42.553" v="9" actId="700"/>
          <ac:spMkLst>
            <pc:docMk/>
            <pc:sldMk cId="3429474315" sldId="312"/>
            <ac:spMk id="6" creationId="{0611A0E1-1282-7BC9-BE0D-1FCFB4543548}"/>
          </ac:spMkLst>
        </pc:spChg>
        <pc:picChg chg="add mod modCrop">
          <ac:chgData name="Ischanka, Eugen" userId="e4e12248-2210-4459-89e3-acb2dd10c338" providerId="ADAL" clId="{50398678-1125-4921-BC2E-56DEFA904AD2}" dt="2023-11-06T10:55:38.266" v="1299" actId="732"/>
          <ac:picMkLst>
            <pc:docMk/>
            <pc:sldMk cId="3429474315" sldId="312"/>
            <ac:picMk id="8" creationId="{A414CF54-FE8B-600B-1B85-FEF87307E171}"/>
          </ac:picMkLst>
        </pc:picChg>
      </pc:sldChg>
      <pc:sldChg chg="addSp delSp modSp new del mod modClrScheme chgLayout">
        <pc:chgData name="Ischanka, Eugen" userId="e4e12248-2210-4459-89e3-acb2dd10c338" providerId="ADAL" clId="{50398678-1125-4921-BC2E-56DEFA904AD2}" dt="2023-11-03T07:40:03.987" v="212" actId="47"/>
        <pc:sldMkLst>
          <pc:docMk/>
          <pc:sldMk cId="2028522261" sldId="313"/>
        </pc:sldMkLst>
        <pc:spChg chg="del">
          <ac:chgData name="Ischanka, Eugen" userId="e4e12248-2210-4459-89e3-acb2dd10c338" providerId="ADAL" clId="{50398678-1125-4921-BC2E-56DEFA904AD2}" dt="2023-11-03T07:15:39.316" v="8" actId="700"/>
          <ac:spMkLst>
            <pc:docMk/>
            <pc:sldMk cId="2028522261" sldId="313"/>
            <ac:spMk id="2" creationId="{7B2559A6-2CCC-1F8A-1101-CD9C4DA16415}"/>
          </ac:spMkLst>
        </pc:spChg>
        <pc:spChg chg="del">
          <ac:chgData name="Ischanka, Eugen" userId="e4e12248-2210-4459-89e3-acb2dd10c338" providerId="ADAL" clId="{50398678-1125-4921-BC2E-56DEFA904AD2}" dt="2023-11-03T07:15:39.316" v="8" actId="700"/>
          <ac:spMkLst>
            <pc:docMk/>
            <pc:sldMk cId="2028522261" sldId="313"/>
            <ac:spMk id="3" creationId="{CC456039-982C-CF86-D5B5-72C1ADE2FC93}"/>
          </ac:spMkLst>
        </pc:spChg>
        <pc:spChg chg="add mod">
          <ac:chgData name="Ischanka, Eugen" userId="e4e12248-2210-4459-89e3-acb2dd10c338" providerId="ADAL" clId="{50398678-1125-4921-BC2E-56DEFA904AD2}" dt="2023-11-03T07:16:46.035" v="146" actId="2085"/>
          <ac:spMkLst>
            <pc:docMk/>
            <pc:sldMk cId="2028522261" sldId="313"/>
            <ac:spMk id="4" creationId="{ACDF95C4-15A3-75E9-E70E-F5655A0EE565}"/>
          </ac:spMkLst>
        </pc:spChg>
      </pc:sldChg>
      <pc:sldChg chg="addSp delSp modSp add del mod modClrScheme chgLayout">
        <pc:chgData name="Ischanka, Eugen" userId="e4e12248-2210-4459-89e3-acb2dd10c338" providerId="ADAL" clId="{50398678-1125-4921-BC2E-56DEFA904AD2}" dt="2023-11-03T07:26:44.623" v="188" actId="47"/>
        <pc:sldMkLst>
          <pc:docMk/>
          <pc:sldMk cId="4130096872" sldId="314"/>
        </pc:sldMkLst>
        <pc:spChg chg="add mod">
          <ac:chgData name="Ischanka, Eugen" userId="e4e12248-2210-4459-89e3-acb2dd10c338" providerId="ADAL" clId="{50398678-1125-4921-BC2E-56DEFA904AD2}" dt="2023-11-03T07:19:01.182" v="171" actId="20577"/>
          <ac:spMkLst>
            <pc:docMk/>
            <pc:sldMk cId="4130096872" sldId="314"/>
            <ac:spMk id="2" creationId="{EA6DD179-1FED-0F57-8E1B-24560D6FE25D}"/>
          </ac:spMkLst>
        </pc:spChg>
        <pc:spChg chg="add mod">
          <ac:chgData name="Ischanka, Eugen" userId="e4e12248-2210-4459-89e3-acb2dd10c338" providerId="ADAL" clId="{50398678-1125-4921-BC2E-56DEFA904AD2}" dt="2023-11-03T07:17:19.679" v="149" actId="700"/>
          <ac:spMkLst>
            <pc:docMk/>
            <pc:sldMk cId="4130096872" sldId="314"/>
            <ac:spMk id="3" creationId="{3D3609B1-B5CF-2AFB-8037-2B34EF67CEE1}"/>
          </ac:spMkLst>
        </pc:spChg>
        <pc:spChg chg="del">
          <ac:chgData name="Ischanka, Eugen" userId="e4e12248-2210-4459-89e3-acb2dd10c338" providerId="ADAL" clId="{50398678-1125-4921-BC2E-56DEFA904AD2}" dt="2023-11-03T07:17:15.791" v="148" actId="478"/>
          <ac:spMkLst>
            <pc:docMk/>
            <pc:sldMk cId="4130096872" sldId="314"/>
            <ac:spMk id="4" creationId="{ACDF95C4-15A3-75E9-E70E-F5655A0EE565}"/>
          </ac:spMkLst>
        </pc:spChg>
        <pc:spChg chg="add mod">
          <ac:chgData name="Ischanka, Eugen" userId="e4e12248-2210-4459-89e3-acb2dd10c338" providerId="ADAL" clId="{50398678-1125-4921-BC2E-56DEFA904AD2}" dt="2023-11-03T07:17:19.679" v="149" actId="700"/>
          <ac:spMkLst>
            <pc:docMk/>
            <pc:sldMk cId="4130096872" sldId="314"/>
            <ac:spMk id="5" creationId="{6693C9C7-0BE2-C9A4-8E9B-9860810FF0B4}"/>
          </ac:spMkLst>
        </pc:spChg>
      </pc:sldChg>
      <pc:sldChg chg="add del mod ord modShow">
        <pc:chgData name="Ischanka, Eugen" userId="e4e12248-2210-4459-89e3-acb2dd10c338" providerId="ADAL" clId="{50398678-1125-4921-BC2E-56DEFA904AD2}" dt="2023-11-06T10:57:24.821" v="1348" actId="47"/>
        <pc:sldMkLst>
          <pc:docMk/>
          <pc:sldMk cId="3156347414" sldId="315"/>
        </pc:sldMkLst>
      </pc:sldChg>
      <pc:sldChg chg="add del mod ord modShow">
        <pc:chgData name="Ischanka, Eugen" userId="e4e12248-2210-4459-89e3-acb2dd10c338" providerId="ADAL" clId="{50398678-1125-4921-BC2E-56DEFA904AD2}" dt="2023-11-06T10:57:24.821" v="1348" actId="47"/>
        <pc:sldMkLst>
          <pc:docMk/>
          <pc:sldMk cId="4175567824" sldId="316"/>
        </pc:sldMkLst>
      </pc:sldChg>
      <pc:sldChg chg="modSp add del mod or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662464043" sldId="317"/>
        </pc:sldMkLst>
        <pc:graphicFrameChg chg="modGraphic">
          <ac:chgData name="Ischanka, Eugen" userId="e4e12248-2210-4459-89e3-acb2dd10c338" providerId="ADAL" clId="{50398678-1125-4921-BC2E-56DEFA904AD2}" dt="2023-11-03T07:53:25.142" v="240" actId="207"/>
          <ac:graphicFrameMkLst>
            <pc:docMk/>
            <pc:sldMk cId="1662464043" sldId="317"/>
            <ac:graphicFrameMk id="5" creationId="{36FA1461-F159-CEF6-65BB-436409724BE3}"/>
          </ac:graphicFrameMkLst>
        </pc:graphicFrameChg>
      </pc:sldChg>
      <pc:sldChg chg="addSp delSp modSp new del mod modClrScheme modShow chgLayout">
        <pc:chgData name="Ischanka, Eugen" userId="e4e12248-2210-4459-89e3-acb2dd10c338" providerId="ADAL" clId="{50398678-1125-4921-BC2E-56DEFA904AD2}" dt="2023-11-06T10:57:02.042" v="1346" actId="47"/>
        <pc:sldMkLst>
          <pc:docMk/>
          <pc:sldMk cId="1802398299" sldId="318"/>
        </pc:sldMkLst>
        <pc:spChg chg="del">
          <ac:chgData name="Ischanka, Eugen" userId="e4e12248-2210-4459-89e3-acb2dd10c338" providerId="ADAL" clId="{50398678-1125-4921-BC2E-56DEFA904AD2}" dt="2023-11-03T07:26:24.803" v="180" actId="700"/>
          <ac:spMkLst>
            <pc:docMk/>
            <pc:sldMk cId="1802398299" sldId="318"/>
            <ac:spMk id="2" creationId="{9E20A143-82EE-C049-5BD9-172E020A2BAC}"/>
          </ac:spMkLst>
        </pc:spChg>
        <pc:spChg chg="del">
          <ac:chgData name="Ischanka, Eugen" userId="e4e12248-2210-4459-89e3-acb2dd10c338" providerId="ADAL" clId="{50398678-1125-4921-BC2E-56DEFA904AD2}" dt="2023-11-03T07:26:24.803" v="180" actId="700"/>
          <ac:spMkLst>
            <pc:docMk/>
            <pc:sldMk cId="1802398299" sldId="318"/>
            <ac:spMk id="3" creationId="{EFFBB82B-21CA-B32A-9E13-C1E7BF421B78}"/>
          </ac:spMkLst>
        </pc:spChg>
        <pc:spChg chg="del">
          <ac:chgData name="Ischanka, Eugen" userId="e4e12248-2210-4459-89e3-acb2dd10c338" providerId="ADAL" clId="{50398678-1125-4921-BC2E-56DEFA904AD2}" dt="2023-11-03T07:26:24.803" v="180" actId="700"/>
          <ac:spMkLst>
            <pc:docMk/>
            <pc:sldMk cId="1802398299" sldId="318"/>
            <ac:spMk id="4" creationId="{0393A77D-E99B-9792-DEA4-E5DF53BEB57A}"/>
          </ac:spMkLst>
        </pc:spChg>
        <pc:spChg chg="add del mod">
          <ac:chgData name="Ischanka, Eugen" userId="e4e12248-2210-4459-89e3-acb2dd10c338" providerId="ADAL" clId="{50398678-1125-4921-BC2E-56DEFA904AD2}" dt="2023-11-03T07:27:46.001" v="203" actId="478"/>
          <ac:spMkLst>
            <pc:docMk/>
            <pc:sldMk cId="1802398299" sldId="318"/>
            <ac:spMk id="7" creationId="{27F41F57-8BA6-2107-F4E5-2A6FE4ADF3C9}"/>
          </ac:spMkLst>
        </pc:spChg>
        <pc:spChg chg="add mod">
          <ac:chgData name="Ischanka, Eugen" userId="e4e12248-2210-4459-89e3-acb2dd10c338" providerId="ADAL" clId="{50398678-1125-4921-BC2E-56DEFA904AD2}" dt="2023-11-03T07:27:54.152" v="207" actId="1076"/>
          <ac:spMkLst>
            <pc:docMk/>
            <pc:sldMk cId="1802398299" sldId="318"/>
            <ac:spMk id="10" creationId="{BBDE5BF1-225E-4246-A0A6-3EE25D01FAC0}"/>
          </ac:spMkLst>
        </pc:spChg>
        <pc:picChg chg="add del">
          <ac:chgData name="Ischanka, Eugen" userId="e4e12248-2210-4459-89e3-acb2dd10c338" providerId="ADAL" clId="{50398678-1125-4921-BC2E-56DEFA904AD2}" dt="2023-11-03T07:27:47.177" v="204" actId="478"/>
          <ac:picMkLst>
            <pc:docMk/>
            <pc:sldMk cId="1802398299" sldId="318"/>
            <ac:picMk id="6" creationId="{3CCC29DC-8DE2-A239-2CAB-C857995D8A02}"/>
          </ac:picMkLst>
        </pc:picChg>
        <pc:picChg chg="add">
          <ac:chgData name="Ischanka, Eugen" userId="e4e12248-2210-4459-89e3-acb2dd10c338" providerId="ADAL" clId="{50398678-1125-4921-BC2E-56DEFA904AD2}" dt="2023-11-03T07:27:48.431" v="205" actId="22"/>
          <ac:picMkLst>
            <pc:docMk/>
            <pc:sldMk cId="1802398299" sldId="318"/>
            <ac:picMk id="9" creationId="{48867129-3EF7-5B12-3358-3A431A015E10}"/>
          </ac:picMkLst>
        </pc:picChg>
      </pc:sldChg>
      <pc:sldChg chg="add del">
        <pc:chgData name="Ischanka, Eugen" userId="e4e12248-2210-4459-89e3-acb2dd10c338" providerId="ADAL" clId="{50398678-1125-4921-BC2E-56DEFA904AD2}" dt="2023-11-03T07:26:36.558" v="184" actId="47"/>
        <pc:sldMkLst>
          <pc:docMk/>
          <pc:sldMk cId="1367172718" sldId="319"/>
        </pc:sldMkLst>
      </pc:sldChg>
      <pc:sldChg chg="addSp delSp modSp add del mod modShow">
        <pc:chgData name="Ischanka, Eugen" userId="e4e12248-2210-4459-89e3-acb2dd10c338" providerId="ADAL" clId="{50398678-1125-4921-BC2E-56DEFA904AD2}" dt="2023-11-06T10:57:00.771" v="1345" actId="47"/>
        <pc:sldMkLst>
          <pc:docMk/>
          <pc:sldMk cId="2189783356" sldId="320"/>
        </pc:sldMkLst>
        <pc:spChg chg="add mod">
          <ac:chgData name="Ischanka, Eugen" userId="e4e12248-2210-4459-89e3-acb2dd10c338" providerId="ADAL" clId="{50398678-1125-4921-BC2E-56DEFA904AD2}" dt="2023-11-03T07:27:25.984" v="200" actId="1076"/>
          <ac:spMkLst>
            <pc:docMk/>
            <pc:sldMk cId="2189783356" sldId="320"/>
            <ac:spMk id="4" creationId="{EA4E3C82-EF8B-A34F-8813-69F7AD3B0C1C}"/>
          </ac:spMkLst>
        </pc:spChg>
        <pc:picChg chg="add">
          <ac:chgData name="Ischanka, Eugen" userId="e4e12248-2210-4459-89e3-acb2dd10c338" providerId="ADAL" clId="{50398678-1125-4921-BC2E-56DEFA904AD2}" dt="2023-11-03T07:27:05.320" v="189" actId="22"/>
          <ac:picMkLst>
            <pc:docMk/>
            <pc:sldMk cId="2189783356" sldId="320"/>
            <ac:picMk id="3" creationId="{1449471C-980F-3089-08D4-5F6C76E3F108}"/>
          </ac:picMkLst>
        </pc:picChg>
        <pc:picChg chg="del">
          <ac:chgData name="Ischanka, Eugen" userId="e4e12248-2210-4459-89e3-acb2dd10c338" providerId="ADAL" clId="{50398678-1125-4921-BC2E-56DEFA904AD2}" dt="2023-11-03T07:26:40.209" v="186" actId="478"/>
          <ac:picMkLst>
            <pc:docMk/>
            <pc:sldMk cId="2189783356" sldId="320"/>
            <ac:picMk id="6" creationId="{3CCC29DC-8DE2-A239-2CAB-C857995D8A02}"/>
          </ac:picMkLst>
        </pc:picChg>
      </pc:sldChg>
      <pc:sldChg chg="delSp add del mod modShow">
        <pc:chgData name="Ischanka, Eugen" userId="e4e12248-2210-4459-89e3-acb2dd10c338" providerId="ADAL" clId="{50398678-1125-4921-BC2E-56DEFA904AD2}" dt="2023-11-06T10:56:59.291" v="1344" actId="47"/>
        <pc:sldMkLst>
          <pc:docMk/>
          <pc:sldMk cId="265098138" sldId="321"/>
        </pc:sldMkLst>
        <pc:picChg chg="del">
          <ac:chgData name="Ischanka, Eugen" userId="e4e12248-2210-4459-89e3-acb2dd10c338" providerId="ADAL" clId="{50398678-1125-4921-BC2E-56DEFA904AD2}" dt="2023-11-03T07:26:41.660" v="187" actId="478"/>
          <ac:picMkLst>
            <pc:docMk/>
            <pc:sldMk cId="265098138" sldId="321"/>
            <ac:picMk id="6" creationId="{3CCC29DC-8DE2-A239-2CAB-C857995D8A02}"/>
          </ac:picMkLst>
        </pc:picChg>
      </pc:sldChg>
      <pc:sldChg chg="addSp delSp modSp new del mod modClrScheme chgLayout">
        <pc:chgData name="Ischanka, Eugen" userId="e4e12248-2210-4459-89e3-acb2dd10c338" providerId="ADAL" clId="{50398678-1125-4921-BC2E-56DEFA904AD2}" dt="2023-11-06T10:08:58.370" v="300" actId="47"/>
        <pc:sldMkLst>
          <pc:docMk/>
          <pc:sldMk cId="4031188797" sldId="322"/>
        </pc:sldMkLst>
        <pc:spChg chg="add del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2" creationId="{EFF1C3A2-362A-7F3A-6731-6293B2D6F6F5}"/>
          </ac:spMkLst>
        </pc:spChg>
        <pc:spChg chg="add del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3" creationId="{D3F4B646-7D0D-2B65-A39E-7E110013ACE1}"/>
          </ac:spMkLst>
        </pc:spChg>
        <pc:spChg chg="add del mo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4" creationId="{F23E7BDB-F25F-62D3-67F9-B7FFC8D362BA}"/>
          </ac:spMkLst>
        </pc:spChg>
        <pc:spChg chg="add del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5" creationId="{DDF11FC1-08ED-2851-61E7-E137A7FCC26B}"/>
          </ac:spMkLst>
        </pc:spChg>
        <pc:spChg chg="add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6" creationId="{31A0DD0C-16F0-2197-300F-884CECCFEE16}"/>
          </ac:spMkLst>
        </pc:spChg>
        <pc:spChg chg="add mod ord">
          <ac:chgData name="Ischanka, Eugen" userId="e4e12248-2210-4459-89e3-acb2dd10c338" providerId="ADAL" clId="{50398678-1125-4921-BC2E-56DEFA904AD2}" dt="2023-11-03T07:40:00.648" v="211"/>
          <ac:spMkLst>
            <pc:docMk/>
            <pc:sldMk cId="4031188797" sldId="322"/>
            <ac:spMk id="7" creationId="{DB46EBB5-7BEB-3B4E-001B-50E086D13AE6}"/>
          </ac:spMkLst>
        </pc:spChg>
        <pc:spChg chg="add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8" creationId="{13DDF6AA-FABB-07CF-81E5-5394C18A97F2}"/>
          </ac:spMkLst>
        </pc:spChg>
      </pc:sldChg>
      <pc:sldChg chg="addSp delSp modSp del mod">
        <pc:chgData name="Ischanka, Eugen" userId="e4e12248-2210-4459-89e3-acb2dd10c338" providerId="ADAL" clId="{50398678-1125-4921-BC2E-56DEFA904AD2}" dt="2023-11-17T16:17:35.260" v="12903" actId="47"/>
        <pc:sldMkLst>
          <pc:docMk/>
          <pc:sldMk cId="4127566884" sldId="322"/>
        </pc:sldMkLst>
        <pc:spChg chg="del mod">
          <ac:chgData name="Ischanka, Eugen" userId="e4e12248-2210-4459-89e3-acb2dd10c338" providerId="ADAL" clId="{50398678-1125-4921-BC2E-56DEFA904AD2}" dt="2023-11-17T12:00:31.070" v="9369" actId="478"/>
          <ac:spMkLst>
            <pc:docMk/>
            <pc:sldMk cId="4127566884" sldId="322"/>
            <ac:spMk id="2" creationId="{F6AFAE9D-418A-5291-0508-0F267A32C874}"/>
          </ac:spMkLst>
        </pc:spChg>
        <pc:spChg chg="add mod">
          <ac:chgData name="Ischanka, Eugen" userId="e4e12248-2210-4459-89e3-acb2dd10c338" providerId="ADAL" clId="{50398678-1125-4921-BC2E-56DEFA904AD2}" dt="2023-11-17T13:44:15.849" v="11141" actId="1076"/>
          <ac:spMkLst>
            <pc:docMk/>
            <pc:sldMk cId="4127566884" sldId="322"/>
            <ac:spMk id="3" creationId="{1149B1E0-C193-03E4-764D-055ACA414A87}"/>
          </ac:spMkLst>
        </pc:spChg>
        <pc:graphicFrameChg chg="mod">
          <ac:chgData name="Ischanka, Eugen" userId="e4e12248-2210-4459-89e3-acb2dd10c338" providerId="ADAL" clId="{50398678-1125-4921-BC2E-56DEFA904AD2}" dt="2023-11-17T13:44:02.924" v="11140" actId="20577"/>
          <ac:graphicFrameMkLst>
            <pc:docMk/>
            <pc:sldMk cId="4127566884" sldId="322"/>
            <ac:graphicFrameMk id="7" creationId="{1AA67A88-41CB-C225-2B4B-6DB88E770884}"/>
          </ac:graphicFrameMkLst>
        </pc:graphicFrameChg>
      </pc:sldChg>
      <pc:sldChg chg="addSp delSp modSp del mod ord">
        <pc:chgData name="Ischanka, Eugen" userId="e4e12248-2210-4459-89e3-acb2dd10c338" providerId="ADAL" clId="{50398678-1125-4921-BC2E-56DEFA904AD2}" dt="2023-11-17T16:16:43.771" v="12879" actId="47"/>
        <pc:sldMkLst>
          <pc:docMk/>
          <pc:sldMk cId="1870400426" sldId="323"/>
        </pc:sldMkLst>
        <pc:spChg chg="add mod">
          <ac:chgData name="Ischanka, Eugen" userId="e4e12248-2210-4459-89e3-acb2dd10c338" providerId="ADAL" clId="{50398678-1125-4921-BC2E-56DEFA904AD2}" dt="2023-11-06T10:55:02.617" v="1276" actId="478"/>
          <ac:spMkLst>
            <pc:docMk/>
            <pc:sldMk cId="1870400426" sldId="323"/>
            <ac:spMk id="3" creationId="{29FEE148-DF5F-27F6-B242-5F63489041F1}"/>
          </ac:spMkLst>
        </pc:spChg>
        <pc:spChg chg="mod">
          <ac:chgData name="Ischanka, Eugen" userId="e4e12248-2210-4459-89e3-acb2dd10c338" providerId="ADAL" clId="{50398678-1125-4921-BC2E-56DEFA904AD2}" dt="2023-11-06T10:55:16.492" v="1296" actId="20577"/>
          <ac:spMkLst>
            <pc:docMk/>
            <pc:sldMk cId="1870400426" sldId="323"/>
            <ac:spMk id="5" creationId="{456DD427-B308-0F1F-9597-53D2F07A2659}"/>
          </ac:spMkLst>
        </pc:spChg>
        <pc:spChg chg="del">
          <ac:chgData name="Ischanka, Eugen" userId="e4e12248-2210-4459-89e3-acb2dd10c338" providerId="ADAL" clId="{50398678-1125-4921-BC2E-56DEFA904AD2}" dt="2023-11-06T10:55:02.617" v="1276" actId="478"/>
          <ac:spMkLst>
            <pc:docMk/>
            <pc:sldMk cId="1870400426" sldId="323"/>
            <ac:spMk id="6" creationId="{BB664706-93B3-5D76-FF44-954AF3F7AF26}"/>
          </ac:spMkLst>
        </pc:spChg>
        <pc:spChg chg="mod">
          <ac:chgData name="Ischanka, Eugen" userId="e4e12248-2210-4459-89e3-acb2dd10c338" providerId="ADAL" clId="{50398678-1125-4921-BC2E-56DEFA904AD2}" dt="2023-11-06T12:44:04.241" v="2507" actId="20577"/>
          <ac:spMkLst>
            <pc:docMk/>
            <pc:sldMk cId="1870400426" sldId="323"/>
            <ac:spMk id="14" creationId="{93551AD2-80B0-5AB5-E353-0120261341B5}"/>
          </ac:spMkLst>
        </pc:spChg>
        <pc:spChg chg="mod">
          <ac:chgData name="Ischanka, Eugen" userId="e4e12248-2210-4459-89e3-acb2dd10c338" providerId="ADAL" clId="{50398678-1125-4921-BC2E-56DEFA904AD2}" dt="2023-11-06T10:47:59.020" v="1237" actId="207"/>
          <ac:spMkLst>
            <pc:docMk/>
            <pc:sldMk cId="1870400426" sldId="323"/>
            <ac:spMk id="17" creationId="{CCA8631D-8647-C8E8-6408-B3C2E246360A}"/>
          </ac:spMkLst>
        </pc:spChg>
      </pc:sldChg>
      <pc:sldChg chg="addSp delSp modSp del mod ord">
        <pc:chgData name="Ischanka, Eugen" userId="e4e12248-2210-4459-89e3-acb2dd10c338" providerId="ADAL" clId="{50398678-1125-4921-BC2E-56DEFA904AD2}" dt="2023-11-17T16:16:43.771" v="12879" actId="47"/>
        <pc:sldMkLst>
          <pc:docMk/>
          <pc:sldMk cId="2356655975" sldId="324"/>
        </pc:sldMkLst>
        <pc:spChg chg="add mod">
          <ac:chgData name="Ischanka, Eugen" userId="e4e12248-2210-4459-89e3-acb2dd10c338" providerId="ADAL" clId="{50398678-1125-4921-BC2E-56DEFA904AD2}" dt="2023-11-06T11:33:33.809" v="1911" actId="1076"/>
          <ac:spMkLst>
            <pc:docMk/>
            <pc:sldMk cId="2356655975" sldId="324"/>
            <ac:spMk id="2" creationId="{2E4FFBDA-F8FE-6BF3-FF9C-921BA778A7D6}"/>
          </ac:spMkLst>
        </pc:spChg>
        <pc:spChg chg="mod">
          <ac:chgData name="Ischanka, Eugen" userId="e4e12248-2210-4459-89e3-acb2dd10c338" providerId="ADAL" clId="{50398678-1125-4921-BC2E-56DEFA904AD2}" dt="2023-11-06T11:00:09.701" v="1377"/>
          <ac:spMkLst>
            <pc:docMk/>
            <pc:sldMk cId="2356655975" sldId="324"/>
            <ac:spMk id="3" creationId="{BD4EE334-5EAE-A0A8-6DD4-E4999BFBDAA2}"/>
          </ac:spMkLst>
        </pc:spChg>
        <pc:spChg chg="mod">
          <ac:chgData name="Ischanka, Eugen" userId="e4e12248-2210-4459-89e3-acb2dd10c338" providerId="ADAL" clId="{50398678-1125-4921-BC2E-56DEFA904AD2}" dt="2023-11-06T10:59:56.159" v="1362" actId="20577"/>
          <ac:spMkLst>
            <pc:docMk/>
            <pc:sldMk cId="2356655975" sldId="324"/>
            <ac:spMk id="4" creationId="{D4155F6E-E7CD-CB20-D84A-62B5A60D7C78}"/>
          </ac:spMkLst>
        </pc:spChg>
        <pc:spChg chg="mod">
          <ac:chgData name="Ischanka, Eugen" userId="e4e12248-2210-4459-89e3-acb2dd10c338" providerId="ADAL" clId="{50398678-1125-4921-BC2E-56DEFA904AD2}" dt="2023-11-06T11:02:46.544" v="1381" actId="1076"/>
          <ac:spMkLst>
            <pc:docMk/>
            <pc:sldMk cId="2356655975" sldId="324"/>
            <ac:spMk id="14" creationId="{9E728283-E155-43D9-BF7F-97192901E1D4}"/>
          </ac:spMkLst>
        </pc:spChg>
        <pc:spChg chg="del">
          <ac:chgData name="Ischanka, Eugen" userId="e4e12248-2210-4459-89e3-acb2dd10c338" providerId="ADAL" clId="{50398678-1125-4921-BC2E-56DEFA904AD2}" dt="2023-11-06T11:07:20.601" v="1415" actId="478"/>
          <ac:spMkLst>
            <pc:docMk/>
            <pc:sldMk cId="2356655975" sldId="324"/>
            <ac:spMk id="15" creationId="{9FB4BBB4-D227-797A-1734-1661648F9ECA}"/>
          </ac:spMkLst>
        </pc:spChg>
        <pc:spChg chg="mod">
          <ac:chgData name="Ischanka, Eugen" userId="e4e12248-2210-4459-89e3-acb2dd10c338" providerId="ADAL" clId="{50398678-1125-4921-BC2E-56DEFA904AD2}" dt="2023-11-06T11:17:34.596" v="1872" actId="20577"/>
          <ac:spMkLst>
            <pc:docMk/>
            <pc:sldMk cId="2356655975" sldId="324"/>
            <ac:spMk id="16" creationId="{8F797F4B-2BF4-6CB1-9A5D-D600E34E2B83}"/>
          </ac:spMkLst>
        </pc:spChg>
        <pc:spChg chg="mod">
          <ac:chgData name="Ischanka, Eugen" userId="e4e12248-2210-4459-89e3-acb2dd10c338" providerId="ADAL" clId="{50398678-1125-4921-BC2E-56DEFA904AD2}" dt="2023-11-06T11:17:39.515" v="1873"/>
          <ac:spMkLst>
            <pc:docMk/>
            <pc:sldMk cId="2356655975" sldId="324"/>
            <ac:spMk id="17" creationId="{57E40CC4-FBBC-2D2B-ABCA-7E1BA8D3AD76}"/>
          </ac:spMkLst>
        </pc:spChg>
        <pc:spChg chg="mod">
          <ac:chgData name="Ischanka, Eugen" userId="e4e12248-2210-4459-89e3-acb2dd10c338" providerId="ADAL" clId="{50398678-1125-4921-BC2E-56DEFA904AD2}" dt="2023-11-06T11:17:42.252" v="1874"/>
          <ac:spMkLst>
            <pc:docMk/>
            <pc:sldMk cId="2356655975" sldId="324"/>
            <ac:spMk id="19" creationId="{D61A8621-DA43-3454-C149-0808482B51F7}"/>
          </ac:spMkLst>
        </pc:spChg>
        <pc:spChg chg="mod">
          <ac:chgData name="Ischanka, Eugen" userId="e4e12248-2210-4459-89e3-acb2dd10c338" providerId="ADAL" clId="{50398678-1125-4921-BC2E-56DEFA904AD2}" dt="2023-11-06T11:32:53.637" v="1891" actId="14100"/>
          <ac:spMkLst>
            <pc:docMk/>
            <pc:sldMk cId="2356655975" sldId="324"/>
            <ac:spMk id="20" creationId="{B15F0788-85FA-0F2E-B50B-28DF023EF5DC}"/>
          </ac:spMkLst>
        </pc:spChg>
        <pc:spChg chg="mod">
          <ac:chgData name="Ischanka, Eugen" userId="e4e12248-2210-4459-89e3-acb2dd10c338" providerId="ADAL" clId="{50398678-1125-4921-BC2E-56DEFA904AD2}" dt="2023-11-06T11:16:46.007" v="1828" actId="14100"/>
          <ac:spMkLst>
            <pc:docMk/>
            <pc:sldMk cId="2356655975" sldId="324"/>
            <ac:spMk id="21" creationId="{82236CC5-A593-B5D5-354E-0532FE5145BA}"/>
          </ac:spMkLst>
        </pc:spChg>
        <pc:spChg chg="mod">
          <ac:chgData name="Ischanka, Eugen" userId="e4e12248-2210-4459-89e3-acb2dd10c338" providerId="ADAL" clId="{50398678-1125-4921-BC2E-56DEFA904AD2}" dt="2023-11-06T11:18:00.426" v="1887" actId="14100"/>
          <ac:spMkLst>
            <pc:docMk/>
            <pc:sldMk cId="2356655975" sldId="324"/>
            <ac:spMk id="22" creationId="{9BE90B8A-AFC5-397A-1561-125B1281B0D7}"/>
          </ac:spMkLst>
        </pc:spChg>
        <pc:spChg chg="mod">
          <ac:chgData name="Ischanka, Eugen" userId="e4e12248-2210-4459-89e3-acb2dd10c338" providerId="ADAL" clId="{50398678-1125-4921-BC2E-56DEFA904AD2}" dt="2023-11-06T12:46:52.713" v="2508" actId="14100"/>
          <ac:spMkLst>
            <pc:docMk/>
            <pc:sldMk cId="2356655975" sldId="324"/>
            <ac:spMk id="23" creationId="{856640D8-2F68-D4C2-7D71-3F42E93F9DED}"/>
          </ac:spMkLst>
        </pc:spChg>
        <pc:spChg chg="mod">
          <ac:chgData name="Ischanka, Eugen" userId="e4e12248-2210-4459-89e3-acb2dd10c338" providerId="ADAL" clId="{50398678-1125-4921-BC2E-56DEFA904AD2}" dt="2023-11-06T11:35:20.433" v="2099" actId="14100"/>
          <ac:spMkLst>
            <pc:docMk/>
            <pc:sldMk cId="2356655975" sldId="324"/>
            <ac:spMk id="24" creationId="{90457F61-01AE-A9FE-2E02-5BED7D95E144}"/>
          </ac:spMkLst>
        </pc:spChg>
        <pc:picChg chg="mod">
          <ac:chgData name="Ischanka, Eugen" userId="e4e12248-2210-4459-89e3-acb2dd10c338" providerId="ADAL" clId="{50398678-1125-4921-BC2E-56DEFA904AD2}" dt="2023-11-06T11:13:02.050" v="1736" actId="1076"/>
          <ac:picMkLst>
            <pc:docMk/>
            <pc:sldMk cId="2356655975" sldId="324"/>
            <ac:picMk id="8" creationId="{A1CFEF98-C398-005C-2CB7-21CFE693F88E}"/>
          </ac:picMkLst>
        </pc:picChg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116212042" sldId="325"/>
        </pc:sldMkLst>
      </pc:sldChg>
      <pc:sldChg chg="new del">
        <pc:chgData name="Ischanka, Eugen" userId="e4e12248-2210-4459-89e3-acb2dd10c338" providerId="ADAL" clId="{50398678-1125-4921-BC2E-56DEFA904AD2}" dt="2023-11-06T10:06:00.786" v="245" actId="47"/>
        <pc:sldMkLst>
          <pc:docMk/>
          <pc:sldMk cId="2852717436" sldId="327"/>
        </pc:sldMkLst>
      </pc:sldChg>
      <pc:sldChg chg="modSp add mod">
        <pc:chgData name="Ischanka, Eugen" userId="e4e12248-2210-4459-89e3-acb2dd10c338" providerId="ADAL" clId="{50398678-1125-4921-BC2E-56DEFA904AD2}" dt="2023-11-06T10:06:31.310" v="291" actId="20577"/>
        <pc:sldMkLst>
          <pc:docMk/>
          <pc:sldMk cId="3371421586" sldId="328"/>
        </pc:sldMkLst>
        <pc:spChg chg="mod">
          <ac:chgData name="Ischanka, Eugen" userId="e4e12248-2210-4459-89e3-acb2dd10c338" providerId="ADAL" clId="{50398678-1125-4921-BC2E-56DEFA904AD2}" dt="2023-11-06T10:06:31.310" v="291" actId="20577"/>
          <ac:spMkLst>
            <pc:docMk/>
            <pc:sldMk cId="3371421586" sldId="328"/>
            <ac:spMk id="11" creationId="{4997980C-EDF4-6993-0214-7F325C9B36DC}"/>
          </ac:spMkLst>
        </pc:spChg>
      </pc:sldChg>
      <pc:sldChg chg="delSp modSp new del mod">
        <pc:chgData name="Ischanka, Eugen" userId="e4e12248-2210-4459-89e3-acb2dd10c338" providerId="ADAL" clId="{50398678-1125-4921-BC2E-56DEFA904AD2}" dt="2023-11-17T16:16:43.771" v="12879" actId="47"/>
        <pc:sldMkLst>
          <pc:docMk/>
          <pc:sldMk cId="3522833484" sldId="329"/>
        </pc:sldMkLst>
        <pc:spChg chg="mod">
          <ac:chgData name="Ischanka, Eugen" userId="e4e12248-2210-4459-89e3-acb2dd10c338" providerId="ADAL" clId="{50398678-1125-4921-BC2E-56DEFA904AD2}" dt="2023-11-06T10:10:39.371" v="329" actId="404"/>
          <ac:spMkLst>
            <pc:docMk/>
            <pc:sldMk cId="3522833484" sldId="329"/>
            <ac:spMk id="2" creationId="{4432C7EF-6DBF-5209-BD1A-E8DB5C7EA4A9}"/>
          </ac:spMkLst>
        </pc:spChg>
        <pc:spChg chg="del">
          <ac:chgData name="Ischanka, Eugen" userId="e4e12248-2210-4459-89e3-acb2dd10c338" providerId="ADAL" clId="{50398678-1125-4921-BC2E-56DEFA904AD2}" dt="2023-11-06T10:10:18.884" v="322" actId="478"/>
          <ac:spMkLst>
            <pc:docMk/>
            <pc:sldMk cId="3522833484" sldId="329"/>
            <ac:spMk id="3" creationId="{F9419611-42C9-B59A-A23A-80E866DDE733}"/>
          </ac:spMkLst>
        </pc:spChg>
      </pc:sldChg>
      <pc:sldChg chg="addSp delSp modSp new del mod modClrScheme chgLayout">
        <pc:chgData name="Ischanka, Eugen" userId="e4e12248-2210-4459-89e3-acb2dd10c338" providerId="ADAL" clId="{50398678-1125-4921-BC2E-56DEFA904AD2}" dt="2023-11-17T16:16:43.771" v="12879" actId="47"/>
        <pc:sldMkLst>
          <pc:docMk/>
          <pc:sldMk cId="557009953" sldId="330"/>
        </pc:sldMkLst>
        <pc:spChg chg="del mod ord">
          <ac:chgData name="Ischanka, Eugen" userId="e4e12248-2210-4459-89e3-acb2dd10c338" providerId="ADAL" clId="{50398678-1125-4921-BC2E-56DEFA904AD2}" dt="2023-11-06T10:10:58.653" v="331" actId="700"/>
          <ac:spMkLst>
            <pc:docMk/>
            <pc:sldMk cId="557009953" sldId="330"/>
            <ac:spMk id="2" creationId="{7FDF786A-0940-0978-60F5-A66C0945741D}"/>
          </ac:spMkLst>
        </pc:spChg>
        <pc:spChg chg="del mod ord">
          <ac:chgData name="Ischanka, Eugen" userId="e4e12248-2210-4459-89e3-acb2dd10c338" providerId="ADAL" clId="{50398678-1125-4921-BC2E-56DEFA904AD2}" dt="2023-11-06T10:10:58.653" v="331" actId="700"/>
          <ac:spMkLst>
            <pc:docMk/>
            <pc:sldMk cId="557009953" sldId="330"/>
            <ac:spMk id="3" creationId="{48B7E126-D998-8D39-2A7D-381A964F93CE}"/>
          </ac:spMkLst>
        </pc:spChg>
        <pc:spChg chg="add mod ord">
          <ac:chgData name="Ischanka, Eugen" userId="e4e12248-2210-4459-89e3-acb2dd10c338" providerId="ADAL" clId="{50398678-1125-4921-BC2E-56DEFA904AD2}" dt="2023-11-06T10:29:04.865" v="389" actId="20577"/>
          <ac:spMkLst>
            <pc:docMk/>
            <pc:sldMk cId="557009953" sldId="330"/>
            <ac:spMk id="4" creationId="{86C84843-4C1D-680C-3DE5-1F36CDE200F6}"/>
          </ac:spMkLst>
        </pc:spChg>
        <pc:spChg chg="add mod ord">
          <ac:chgData name="Ischanka, Eugen" userId="e4e12248-2210-4459-89e3-acb2dd10c338" providerId="ADAL" clId="{50398678-1125-4921-BC2E-56DEFA904AD2}" dt="2023-11-06T10:30:20.710" v="427" actId="5793"/>
          <ac:spMkLst>
            <pc:docMk/>
            <pc:sldMk cId="557009953" sldId="330"/>
            <ac:spMk id="5" creationId="{A3D3FCE4-AF21-B043-A130-AD540B3DB15A}"/>
          </ac:spMkLst>
        </pc:spChg>
        <pc:spChg chg="add del mod ord">
          <ac:chgData name="Ischanka, Eugen" userId="e4e12248-2210-4459-89e3-acb2dd10c338" providerId="ADAL" clId="{50398678-1125-4921-BC2E-56DEFA904AD2}" dt="2023-11-06T10:30:58.875" v="429" actId="3680"/>
          <ac:spMkLst>
            <pc:docMk/>
            <pc:sldMk cId="557009953" sldId="330"/>
            <ac:spMk id="6" creationId="{77AC173D-DB1D-84D9-92C8-60023E249FE9}"/>
          </ac:spMkLst>
        </pc:spChg>
        <pc:spChg chg="add mod ord">
          <ac:chgData name="Ischanka, Eugen" userId="e4e12248-2210-4459-89e3-acb2dd10c338" providerId="ADAL" clId="{50398678-1125-4921-BC2E-56DEFA904AD2}" dt="2023-11-06T10:10:58.653" v="331" actId="700"/>
          <ac:spMkLst>
            <pc:docMk/>
            <pc:sldMk cId="557009953" sldId="330"/>
            <ac:spMk id="7" creationId="{3E340030-75FF-8AD8-F62D-94EA8E3A210F}"/>
          </ac:spMkLst>
        </pc:spChg>
        <pc:spChg chg="add mod">
          <ac:chgData name="Ischanka, Eugen" userId="e4e12248-2210-4459-89e3-acb2dd10c338" providerId="ADAL" clId="{50398678-1125-4921-BC2E-56DEFA904AD2}" dt="2023-11-06T11:01:41.356" v="1378" actId="5793"/>
          <ac:spMkLst>
            <pc:docMk/>
            <pc:sldMk cId="557009953" sldId="330"/>
            <ac:spMk id="9" creationId="{97DFDB17-838A-A389-882C-F8370B904663}"/>
          </ac:spMkLst>
        </pc:spChg>
        <pc:graphicFrameChg chg="add mod ord modGraphic">
          <ac:chgData name="Ischanka, Eugen" userId="e4e12248-2210-4459-89e3-acb2dd10c338" providerId="ADAL" clId="{50398678-1125-4921-BC2E-56DEFA904AD2}" dt="2023-11-06T10:45:01.545" v="1143" actId="113"/>
          <ac:graphicFrameMkLst>
            <pc:docMk/>
            <pc:sldMk cId="557009953" sldId="330"/>
            <ac:graphicFrameMk id="8" creationId="{3C04F4AB-859E-51C2-1585-AC5EDB872F58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06T10:54:04.606" v="1238" actId="13926"/>
          <ac:graphicFrameMkLst>
            <pc:docMk/>
            <pc:sldMk cId="557009953" sldId="330"/>
            <ac:graphicFrameMk id="10" creationId="{D9370AAC-ABBF-B189-CA79-5BE8A1076D35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06T10:46:48.255" v="1235" actId="478"/>
          <ac:graphicFrameMkLst>
            <pc:docMk/>
            <pc:sldMk cId="557009953" sldId="330"/>
            <ac:graphicFrameMk id="11" creationId="{AE298644-5271-38C6-9854-11EABF23F016}"/>
          </ac:graphicFrameMkLst>
        </pc:graphicFrameChg>
      </pc:sldChg>
      <pc:sldChg chg="add del">
        <pc:chgData name="Ischanka, Eugen" userId="e4e12248-2210-4459-89e3-acb2dd10c338" providerId="ADAL" clId="{50398678-1125-4921-BC2E-56DEFA904AD2}" dt="2023-11-06T10:36:48.667" v="891" actId="47"/>
        <pc:sldMkLst>
          <pc:docMk/>
          <pc:sldMk cId="627166990" sldId="332"/>
        </pc:sldMkLst>
      </pc:sldChg>
      <pc:sldChg chg="modSp add del mod">
        <pc:chgData name="Ischanka, Eugen" userId="e4e12248-2210-4459-89e3-acb2dd10c338" providerId="ADAL" clId="{50398678-1125-4921-BC2E-56DEFA904AD2}" dt="2023-11-17T16:16:43.771" v="12879" actId="47"/>
        <pc:sldMkLst>
          <pc:docMk/>
          <pc:sldMk cId="644460660" sldId="332"/>
        </pc:sldMkLst>
        <pc:spChg chg="mod">
          <ac:chgData name="Ischanka, Eugen" userId="e4e12248-2210-4459-89e3-acb2dd10c338" providerId="ADAL" clId="{50398678-1125-4921-BC2E-56DEFA904AD2}" dt="2023-11-06T10:58:09.251" v="1359" actId="20577"/>
          <ac:spMkLst>
            <pc:docMk/>
            <pc:sldMk cId="644460660" sldId="332"/>
            <ac:spMk id="2" creationId="{4432C7EF-6DBF-5209-BD1A-E8DB5C7EA4A9}"/>
          </ac:spMkLst>
        </pc:spChg>
      </pc:sldChg>
      <pc:sldChg chg="add del">
        <pc:chgData name="Ischanka, Eugen" userId="e4e12248-2210-4459-89e3-acb2dd10c338" providerId="ADAL" clId="{50398678-1125-4921-BC2E-56DEFA904AD2}" dt="2023-11-06T10:43:04.199" v="1139" actId="47"/>
        <pc:sldMkLst>
          <pc:docMk/>
          <pc:sldMk cId="4206555646" sldId="332"/>
        </pc:sldMkLst>
      </pc:sldChg>
      <pc:sldChg chg="modSp add del mod">
        <pc:chgData name="Ischanka, Eugen" userId="e4e12248-2210-4459-89e3-acb2dd10c338" providerId="ADAL" clId="{50398678-1125-4921-BC2E-56DEFA904AD2}" dt="2023-11-17T16:16:43.771" v="12879" actId="47"/>
        <pc:sldMkLst>
          <pc:docMk/>
          <pc:sldMk cId="1723938324" sldId="333"/>
        </pc:sldMkLst>
        <pc:spChg chg="mod">
          <ac:chgData name="Ischanka, Eugen" userId="e4e12248-2210-4459-89e3-acb2dd10c338" providerId="ADAL" clId="{50398678-1125-4921-BC2E-56DEFA904AD2}" dt="2023-11-06T11:03:41.480" v="1411" actId="20577"/>
          <ac:spMkLst>
            <pc:docMk/>
            <pc:sldMk cId="1723938324" sldId="333"/>
            <ac:spMk id="2" creationId="{4432C7EF-6DBF-5209-BD1A-E8DB5C7EA4A9}"/>
          </ac:spMkLst>
        </pc:spChg>
      </pc:sldChg>
      <pc:sldChg chg="addSp delSp modSp new del mod modClrScheme chgLayout">
        <pc:chgData name="Ischanka, Eugen" userId="e4e12248-2210-4459-89e3-acb2dd10c338" providerId="ADAL" clId="{50398678-1125-4921-BC2E-56DEFA904AD2}" dt="2023-11-17T16:16:43.771" v="12879" actId="47"/>
        <pc:sldMkLst>
          <pc:docMk/>
          <pc:sldMk cId="1849125610" sldId="334"/>
        </pc:sldMkLst>
        <pc:spChg chg="del mod ord">
          <ac:chgData name="Ischanka, Eugen" userId="e4e12248-2210-4459-89e3-acb2dd10c338" providerId="ADAL" clId="{50398678-1125-4921-BC2E-56DEFA904AD2}" dt="2023-11-06T11:03:50.011" v="1413" actId="700"/>
          <ac:spMkLst>
            <pc:docMk/>
            <pc:sldMk cId="1849125610" sldId="334"/>
            <ac:spMk id="2" creationId="{908059D1-DE6D-9DE0-3D5B-90949441E910}"/>
          </ac:spMkLst>
        </pc:spChg>
        <pc:spChg chg="del mod ord">
          <ac:chgData name="Ischanka, Eugen" userId="e4e12248-2210-4459-89e3-acb2dd10c338" providerId="ADAL" clId="{50398678-1125-4921-BC2E-56DEFA904AD2}" dt="2023-11-06T11:03:50.011" v="1413" actId="700"/>
          <ac:spMkLst>
            <pc:docMk/>
            <pc:sldMk cId="1849125610" sldId="334"/>
            <ac:spMk id="3" creationId="{489DDB7A-A5BF-5FA8-C64F-A85E2858AD4E}"/>
          </ac:spMkLst>
        </pc:spChg>
        <pc:spChg chg="add mod ord">
          <ac:chgData name="Ischanka, Eugen" userId="e4e12248-2210-4459-89e3-acb2dd10c338" providerId="ADAL" clId="{50398678-1125-4921-BC2E-56DEFA904AD2}" dt="2023-11-06T11:36:26.812" v="2119" actId="700"/>
          <ac:spMkLst>
            <pc:docMk/>
            <pc:sldMk cId="1849125610" sldId="334"/>
            <ac:spMk id="4" creationId="{C6485FDB-8F9E-D589-FBB7-BBF8F41E9A97}"/>
          </ac:spMkLst>
        </pc:spChg>
        <pc:spChg chg="add del mod ord">
          <ac:chgData name="Ischanka, Eugen" userId="e4e12248-2210-4459-89e3-acb2dd10c338" providerId="ADAL" clId="{50398678-1125-4921-BC2E-56DEFA904AD2}" dt="2023-11-06T11:36:26.812" v="2119" actId="700"/>
          <ac:spMkLst>
            <pc:docMk/>
            <pc:sldMk cId="1849125610" sldId="334"/>
            <ac:spMk id="5" creationId="{22402963-EF1B-EE31-31BE-6560743A43E2}"/>
          </ac:spMkLst>
        </pc:spChg>
        <pc:spChg chg="add mod ord">
          <ac:chgData name="Ischanka, Eugen" userId="e4e12248-2210-4459-89e3-acb2dd10c338" providerId="ADAL" clId="{50398678-1125-4921-BC2E-56DEFA904AD2}" dt="2023-11-06T12:56:38.109" v="2510" actId="20577"/>
          <ac:spMkLst>
            <pc:docMk/>
            <pc:sldMk cId="1849125610" sldId="334"/>
            <ac:spMk id="6" creationId="{D6C8F88A-A7BF-6159-F0F3-797A14010D98}"/>
          </ac:spMkLst>
        </pc:spChg>
        <pc:spChg chg="add mod ord">
          <ac:chgData name="Ischanka, Eugen" userId="e4e12248-2210-4459-89e3-acb2dd10c338" providerId="ADAL" clId="{50398678-1125-4921-BC2E-56DEFA904AD2}" dt="2023-11-06T11:36:26.812" v="2119" actId="700"/>
          <ac:spMkLst>
            <pc:docMk/>
            <pc:sldMk cId="1849125610" sldId="334"/>
            <ac:spMk id="7" creationId="{268E7CF4-647F-130C-6DC9-A4EF9907A6AC}"/>
          </ac:spMkLst>
        </pc:spChg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2765954015" sldId="335"/>
        </pc:sldMkLst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984707140" sldId="336"/>
        </pc:sldMkLst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3349682261" sldId="337"/>
        </pc:sldMkLst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1332374113" sldId="338"/>
        </pc:sldMkLst>
      </pc:sldChg>
      <pc:sldChg chg="addSp delSp modSp mod">
        <pc:chgData name="Ischanka, Eugen" userId="e4e12248-2210-4459-89e3-acb2dd10c338" providerId="ADAL" clId="{50398678-1125-4921-BC2E-56DEFA904AD2}" dt="2023-11-20T16:58:38.208" v="25974" actId="20577"/>
        <pc:sldMkLst>
          <pc:docMk/>
          <pc:sldMk cId="182752618" sldId="340"/>
        </pc:sldMkLst>
        <pc:spChg chg="add del mod">
          <ac:chgData name="Ischanka, Eugen" userId="e4e12248-2210-4459-89e3-acb2dd10c338" providerId="ADAL" clId="{50398678-1125-4921-BC2E-56DEFA904AD2}" dt="2023-11-19T18:34:22.394" v="18135" actId="478"/>
          <ac:spMkLst>
            <pc:docMk/>
            <pc:sldMk cId="182752618" sldId="340"/>
            <ac:spMk id="8" creationId="{37A7CC59-8AD2-6874-C0A3-1BAFCCC81FA9}"/>
          </ac:spMkLst>
        </pc:spChg>
        <pc:spChg chg="mod">
          <ac:chgData name="Ischanka, Eugen" userId="e4e12248-2210-4459-89e3-acb2dd10c338" providerId="ADAL" clId="{50398678-1125-4921-BC2E-56DEFA904AD2}" dt="2023-11-20T16:58:38.208" v="25974" actId="20577"/>
          <ac:spMkLst>
            <pc:docMk/>
            <pc:sldMk cId="182752618" sldId="340"/>
            <ac:spMk id="9" creationId="{D3E2409B-1721-6F8D-C7B5-88E975B1A6E1}"/>
          </ac:spMkLst>
        </pc:spChg>
        <pc:graphicFrameChg chg="add del mod">
          <ac:chgData name="Ischanka, Eugen" userId="e4e12248-2210-4459-89e3-acb2dd10c338" providerId="ADAL" clId="{50398678-1125-4921-BC2E-56DEFA904AD2}" dt="2023-11-19T18:34:21.264" v="18134" actId="478"/>
          <ac:graphicFrameMkLst>
            <pc:docMk/>
            <pc:sldMk cId="182752618" sldId="340"/>
            <ac:graphicFrameMk id="10" creationId="{21D18E13-38E8-853C-EBE7-705345A7C8F3}"/>
          </ac:graphicFrameMkLst>
        </pc:graphicFrameChg>
      </pc:sldChg>
      <pc:sldChg chg="addSp modSp mod">
        <pc:chgData name="Ischanka, Eugen" userId="e4e12248-2210-4459-89e3-acb2dd10c338" providerId="ADAL" clId="{50398678-1125-4921-BC2E-56DEFA904AD2}" dt="2023-11-19T19:52:52.856" v="18804" actId="403"/>
        <pc:sldMkLst>
          <pc:docMk/>
          <pc:sldMk cId="2890626996" sldId="341"/>
        </pc:sldMkLst>
        <pc:spChg chg="add mod">
          <ac:chgData name="Ischanka, Eugen" userId="e4e12248-2210-4459-89e3-acb2dd10c338" providerId="ADAL" clId="{50398678-1125-4921-BC2E-56DEFA904AD2}" dt="2023-11-19T19:52:37.174" v="18796" actId="14100"/>
          <ac:spMkLst>
            <pc:docMk/>
            <pc:sldMk cId="2890626996" sldId="341"/>
            <ac:spMk id="2" creationId="{6E58BF0F-434D-444B-96EA-DDA1B0EC81B5}"/>
          </ac:spMkLst>
        </pc:spChg>
        <pc:graphicFrameChg chg="modGraphic">
          <ac:chgData name="Ischanka, Eugen" userId="e4e12248-2210-4459-89e3-acb2dd10c338" providerId="ADAL" clId="{50398678-1125-4921-BC2E-56DEFA904AD2}" dt="2023-11-19T19:52:52.856" v="18804" actId="403"/>
          <ac:graphicFrameMkLst>
            <pc:docMk/>
            <pc:sldMk cId="2890626996" sldId="341"/>
            <ac:graphicFrameMk id="11" creationId="{C9634AE4-4993-E7E5-3F6D-7A926BEC9721}"/>
          </ac:graphicFrameMkLst>
        </pc:graphicFrameChg>
      </pc:sldChg>
      <pc:sldChg chg="addSp delSp modSp mod">
        <pc:chgData name="Ischanka, Eugen" userId="e4e12248-2210-4459-89e3-acb2dd10c338" providerId="ADAL" clId="{50398678-1125-4921-BC2E-56DEFA904AD2}" dt="2023-11-19T19:52:20.266" v="18790" actId="948"/>
        <pc:sldMkLst>
          <pc:docMk/>
          <pc:sldMk cId="460441520" sldId="342"/>
        </pc:sldMkLst>
        <pc:spChg chg="mod">
          <ac:chgData name="Ischanka, Eugen" userId="e4e12248-2210-4459-89e3-acb2dd10c338" providerId="ADAL" clId="{50398678-1125-4921-BC2E-56DEFA904AD2}" dt="2023-11-17T06:29:16.927" v="2889" actId="20577"/>
          <ac:spMkLst>
            <pc:docMk/>
            <pc:sldMk cId="460441520" sldId="342"/>
            <ac:spMk id="3" creationId="{01024579-3927-0591-D5AA-3B875EB00E4D}"/>
          </ac:spMkLst>
        </pc:spChg>
        <pc:spChg chg="add del mod">
          <ac:chgData name="Ischanka, Eugen" userId="e4e12248-2210-4459-89e3-acb2dd10c338" providerId="ADAL" clId="{50398678-1125-4921-BC2E-56DEFA904AD2}" dt="2023-11-17T06:11:23.709" v="2519"/>
          <ac:spMkLst>
            <pc:docMk/>
            <pc:sldMk cId="460441520" sldId="342"/>
            <ac:spMk id="6" creationId="{ED78DB3F-DB3E-336F-75EB-2E630DCD5769}"/>
          </ac:spMkLst>
        </pc:spChg>
        <pc:spChg chg="add mod">
          <ac:chgData name="Ischanka, Eugen" userId="e4e12248-2210-4459-89e3-acb2dd10c338" providerId="ADAL" clId="{50398678-1125-4921-BC2E-56DEFA904AD2}" dt="2023-11-19T19:52:20.266" v="18790" actId="948"/>
          <ac:spMkLst>
            <pc:docMk/>
            <pc:sldMk cId="460441520" sldId="342"/>
            <ac:spMk id="7" creationId="{78552B08-C9A8-87DD-E16E-38294C43DF3D}"/>
          </ac:spMkLst>
        </pc:spChg>
        <pc:spChg chg="add del mod">
          <ac:chgData name="Ischanka, Eugen" userId="e4e12248-2210-4459-89e3-acb2dd10c338" providerId="ADAL" clId="{50398678-1125-4921-BC2E-56DEFA904AD2}" dt="2023-11-17T06:21:18.386" v="2858" actId="478"/>
          <ac:spMkLst>
            <pc:docMk/>
            <pc:sldMk cId="460441520" sldId="342"/>
            <ac:spMk id="8" creationId="{C38A3D85-EA7F-CCC9-6A43-0DF906E3D6B3}"/>
          </ac:spMkLst>
        </pc:spChg>
        <pc:graphicFrameChg chg="del mod">
          <ac:chgData name="Ischanka, Eugen" userId="e4e12248-2210-4459-89e3-acb2dd10c338" providerId="ADAL" clId="{50398678-1125-4921-BC2E-56DEFA904AD2}" dt="2023-11-17T06:21:16.800" v="2857" actId="478"/>
          <ac:graphicFrameMkLst>
            <pc:docMk/>
            <pc:sldMk cId="460441520" sldId="342"/>
            <ac:graphicFrameMk id="2" creationId="{69919570-5AA6-4612-B339-67291AAA2D27}"/>
          </ac:graphicFrameMkLst>
        </pc:graphicFrameChg>
        <pc:graphicFrameChg chg="mod modGraphic">
          <ac:chgData name="Ischanka, Eugen" userId="e4e12248-2210-4459-89e3-acb2dd10c338" providerId="ADAL" clId="{50398678-1125-4921-BC2E-56DEFA904AD2}" dt="2023-11-17T06:29:23.918" v="2903" actId="20577"/>
          <ac:graphicFrameMkLst>
            <pc:docMk/>
            <pc:sldMk cId="460441520" sldId="342"/>
            <ac:graphicFrameMk id="5" creationId="{493D3966-D2AD-6BD1-A8B9-9C94FD0CFE27}"/>
          </ac:graphicFrameMkLst>
        </pc:graphicFrameChg>
      </pc:sldChg>
      <pc:sldChg chg="modSp mod">
        <pc:chgData name="Ischanka, Eugen" userId="e4e12248-2210-4459-89e3-acb2dd10c338" providerId="ADAL" clId="{50398678-1125-4921-BC2E-56DEFA904AD2}" dt="2023-11-20T16:04:21.982" v="25072" actId="1076"/>
        <pc:sldMkLst>
          <pc:docMk/>
          <pc:sldMk cId="2899788142" sldId="343"/>
        </pc:sldMkLst>
        <pc:spChg chg="mod">
          <ac:chgData name="Ischanka, Eugen" userId="e4e12248-2210-4459-89e3-acb2dd10c338" providerId="ADAL" clId="{50398678-1125-4921-BC2E-56DEFA904AD2}" dt="2023-11-18T14:29:31.582" v="13366" actId="14100"/>
          <ac:spMkLst>
            <pc:docMk/>
            <pc:sldMk cId="2899788142" sldId="343"/>
            <ac:spMk id="7" creationId="{D03E285B-1FB6-54BE-12AF-D098BDD5F48C}"/>
          </ac:spMkLst>
        </pc:spChg>
        <pc:graphicFrameChg chg="mod modGraphic">
          <ac:chgData name="Ischanka, Eugen" userId="e4e12248-2210-4459-89e3-acb2dd10c338" providerId="ADAL" clId="{50398678-1125-4921-BC2E-56DEFA904AD2}" dt="2023-11-20T16:04:21.982" v="25072" actId="1076"/>
          <ac:graphicFrameMkLst>
            <pc:docMk/>
            <pc:sldMk cId="2899788142" sldId="343"/>
            <ac:graphicFrameMk id="6" creationId="{244DCB97-49F1-87F3-D507-BCBAE92C475F}"/>
          </ac:graphicFrameMkLst>
        </pc:graphicFrameChg>
      </pc:sldChg>
      <pc:sldChg chg="modSp mod">
        <pc:chgData name="Ischanka, Eugen" userId="e4e12248-2210-4459-89e3-acb2dd10c338" providerId="ADAL" clId="{50398678-1125-4921-BC2E-56DEFA904AD2}" dt="2023-11-20T16:04:52.792" v="25073" actId="13926"/>
        <pc:sldMkLst>
          <pc:docMk/>
          <pc:sldMk cId="37923318" sldId="344"/>
        </pc:sldMkLst>
        <pc:spChg chg="mod">
          <ac:chgData name="Ischanka, Eugen" userId="e4e12248-2210-4459-89e3-acb2dd10c338" providerId="ADAL" clId="{50398678-1125-4921-BC2E-56DEFA904AD2}" dt="2023-11-18T14:33:00.096" v="13381" actId="113"/>
          <ac:spMkLst>
            <pc:docMk/>
            <pc:sldMk cId="37923318" sldId="344"/>
            <ac:spMk id="21" creationId="{A2754165-4340-5713-C4D9-2009755074D9}"/>
          </ac:spMkLst>
        </pc:spChg>
        <pc:spChg chg="mod">
          <ac:chgData name="Ischanka, Eugen" userId="e4e12248-2210-4459-89e3-acb2dd10c338" providerId="ADAL" clId="{50398678-1125-4921-BC2E-56DEFA904AD2}" dt="2023-11-17T08:55:28.763" v="5783" actId="1076"/>
          <ac:spMkLst>
            <pc:docMk/>
            <pc:sldMk cId="37923318" sldId="344"/>
            <ac:spMk id="38" creationId="{C6F46A9E-5CFB-85F1-28FB-C3A822629D48}"/>
          </ac:spMkLst>
        </pc:spChg>
        <pc:graphicFrameChg chg="mod">
          <ac:chgData name="Ischanka, Eugen" userId="e4e12248-2210-4459-89e3-acb2dd10c338" providerId="ADAL" clId="{50398678-1125-4921-BC2E-56DEFA904AD2}" dt="2023-11-19T19:53:43.996" v="18813" actId="404"/>
          <ac:graphicFrameMkLst>
            <pc:docMk/>
            <pc:sldMk cId="37923318" sldId="344"/>
            <ac:graphicFrameMk id="17" creationId="{5BEE6DAD-EB72-40CB-A04F-8F36F5E9BD40}"/>
          </ac:graphicFrameMkLst>
        </pc:graphicFrameChg>
        <pc:graphicFrameChg chg="modGraphic">
          <ac:chgData name="Ischanka, Eugen" userId="e4e12248-2210-4459-89e3-acb2dd10c338" providerId="ADAL" clId="{50398678-1125-4921-BC2E-56DEFA904AD2}" dt="2023-11-20T16:04:52.792" v="25073" actId="13926"/>
          <ac:graphicFrameMkLst>
            <pc:docMk/>
            <pc:sldMk cId="37923318" sldId="344"/>
            <ac:graphicFrameMk id="42" creationId="{3096BA0E-0B24-9AF7-4F08-508E7F47C9F9}"/>
          </ac:graphicFrameMkLst>
        </pc:graphicFrameChg>
      </pc:sldChg>
      <pc:sldChg chg="addSp delSp modSp mod">
        <pc:chgData name="Ischanka, Eugen" userId="e4e12248-2210-4459-89e3-acb2dd10c338" providerId="ADAL" clId="{50398678-1125-4921-BC2E-56DEFA904AD2}" dt="2023-11-20T16:05:05.595" v="25074" actId="13926"/>
        <pc:sldMkLst>
          <pc:docMk/>
          <pc:sldMk cId="3777640778" sldId="345"/>
        </pc:sldMkLst>
        <pc:spChg chg="add mod">
          <ac:chgData name="Ischanka, Eugen" userId="e4e12248-2210-4459-89e3-acb2dd10c338" providerId="ADAL" clId="{50398678-1125-4921-BC2E-56DEFA904AD2}" dt="2023-11-19T19:54:45.949" v="18834" actId="1076"/>
          <ac:spMkLst>
            <pc:docMk/>
            <pc:sldMk cId="3777640778" sldId="345"/>
            <ac:spMk id="5" creationId="{D832FC50-DCBE-43EB-9284-C081C3C70A47}"/>
          </ac:spMkLst>
        </pc:spChg>
        <pc:spChg chg="del mod">
          <ac:chgData name="Ischanka, Eugen" userId="e4e12248-2210-4459-89e3-acb2dd10c338" providerId="ADAL" clId="{50398678-1125-4921-BC2E-56DEFA904AD2}" dt="2023-11-18T14:33:09.761" v="13383" actId="478"/>
          <ac:spMkLst>
            <pc:docMk/>
            <pc:sldMk cId="3777640778" sldId="345"/>
            <ac:spMk id="12" creationId="{9A21B07A-6F74-C512-03DC-2B53B0FE0F6B}"/>
          </ac:spMkLst>
        </pc:spChg>
        <pc:spChg chg="del mod">
          <ac:chgData name="Ischanka, Eugen" userId="e4e12248-2210-4459-89e3-acb2dd10c338" providerId="ADAL" clId="{50398678-1125-4921-BC2E-56DEFA904AD2}" dt="2023-11-18T14:33:10.701" v="13384" actId="478"/>
          <ac:spMkLst>
            <pc:docMk/>
            <pc:sldMk cId="3777640778" sldId="345"/>
            <ac:spMk id="13" creationId="{B212D11D-DEC6-2626-568B-4E5B502844BE}"/>
          </ac:spMkLst>
        </pc:spChg>
        <pc:spChg chg="del">
          <ac:chgData name="Ischanka, Eugen" userId="e4e12248-2210-4459-89e3-acb2dd10c338" providerId="ADAL" clId="{50398678-1125-4921-BC2E-56DEFA904AD2}" dt="2023-11-17T06:49:12.686" v="3628" actId="478"/>
          <ac:spMkLst>
            <pc:docMk/>
            <pc:sldMk cId="3777640778" sldId="345"/>
            <ac:spMk id="14" creationId="{1A5AA016-1072-19C5-E8C2-7359D1CEF668}"/>
          </ac:spMkLst>
        </pc:spChg>
        <pc:spChg chg="del mod">
          <ac:chgData name="Ischanka, Eugen" userId="e4e12248-2210-4459-89e3-acb2dd10c338" providerId="ADAL" clId="{50398678-1125-4921-BC2E-56DEFA904AD2}" dt="2023-11-17T06:48:58.649" v="3627" actId="478"/>
          <ac:spMkLst>
            <pc:docMk/>
            <pc:sldMk cId="3777640778" sldId="345"/>
            <ac:spMk id="18" creationId="{605A82E2-1417-9952-0794-7AD885D5CB93}"/>
          </ac:spMkLst>
        </pc:spChg>
        <pc:graphicFrameChg chg="add mod modGraphic">
          <ac:chgData name="Ischanka, Eugen" userId="e4e12248-2210-4459-89e3-acb2dd10c338" providerId="ADAL" clId="{50398678-1125-4921-BC2E-56DEFA904AD2}" dt="2023-11-20T16:05:05.595" v="25074" actId="13926"/>
          <ac:graphicFrameMkLst>
            <pc:docMk/>
            <pc:sldMk cId="3777640778" sldId="345"/>
            <ac:graphicFrameMk id="2" creationId="{729AD669-6193-1196-58EB-E6E4DAA9ED66}"/>
          </ac:graphicFrameMkLst>
        </pc:graphicFrameChg>
        <pc:graphicFrameChg chg="mod">
          <ac:chgData name="Ischanka, Eugen" userId="e4e12248-2210-4459-89e3-acb2dd10c338" providerId="ADAL" clId="{50398678-1125-4921-BC2E-56DEFA904AD2}" dt="2023-11-19T19:54:07.420" v="18821" actId="403"/>
          <ac:graphicFrameMkLst>
            <pc:docMk/>
            <pc:sldMk cId="3777640778" sldId="345"/>
            <ac:graphicFrameMk id="8" creationId="{A1BB43F9-092E-646C-CE83-77F90FA073C6}"/>
          </ac:graphicFrameMkLst>
        </pc:graphicFrameChg>
        <pc:graphicFrameChg chg="mod modGraphic">
          <ac:chgData name="Ischanka, Eugen" userId="e4e12248-2210-4459-89e3-acb2dd10c338" providerId="ADAL" clId="{50398678-1125-4921-BC2E-56DEFA904AD2}" dt="2023-11-19T19:54:24.756" v="18828" actId="1076"/>
          <ac:graphicFrameMkLst>
            <pc:docMk/>
            <pc:sldMk cId="3777640778" sldId="345"/>
            <ac:graphicFrameMk id="16" creationId="{E72DAEE1-4ED2-638C-C0CA-673D653E0D97}"/>
          </ac:graphicFrameMkLst>
        </pc:graphicFrameChg>
        <pc:graphicFrameChg chg="del mod modGraphic">
          <ac:chgData name="Ischanka, Eugen" userId="e4e12248-2210-4459-89e3-acb2dd10c338" providerId="ADAL" clId="{50398678-1125-4921-BC2E-56DEFA904AD2}" dt="2023-11-17T06:52:16.816" v="3769" actId="478"/>
          <ac:graphicFrameMkLst>
            <pc:docMk/>
            <pc:sldMk cId="3777640778" sldId="345"/>
            <ac:graphicFrameMk id="17" creationId="{8D3AFD61-FCEA-376A-3822-5E6D99CB1BCF}"/>
          </ac:graphicFrameMkLst>
        </pc:graphicFrameChg>
      </pc:sldChg>
      <pc:sldChg chg="addSp delSp modSp mod">
        <pc:chgData name="Ischanka, Eugen" userId="e4e12248-2210-4459-89e3-acb2dd10c338" providerId="ADAL" clId="{50398678-1125-4921-BC2E-56DEFA904AD2}" dt="2023-11-19T19:55:52.547" v="18849" actId="404"/>
        <pc:sldMkLst>
          <pc:docMk/>
          <pc:sldMk cId="2369326508" sldId="346"/>
        </pc:sldMkLst>
        <pc:spChg chg="del">
          <ac:chgData name="Ischanka, Eugen" userId="e4e12248-2210-4459-89e3-acb2dd10c338" providerId="ADAL" clId="{50398678-1125-4921-BC2E-56DEFA904AD2}" dt="2023-11-17T07:04:02.769" v="4373"/>
          <ac:spMkLst>
            <pc:docMk/>
            <pc:sldMk cId="2369326508" sldId="346"/>
            <ac:spMk id="2" creationId="{D26BC619-38B7-5A8D-1C0F-B2A87914E567}"/>
          </ac:spMkLst>
        </pc:spChg>
        <pc:spChg chg="add mod">
          <ac:chgData name="Ischanka, Eugen" userId="e4e12248-2210-4459-89e3-acb2dd10c338" providerId="ADAL" clId="{50398678-1125-4921-BC2E-56DEFA904AD2}" dt="2023-11-19T19:55:52.547" v="18849" actId="404"/>
          <ac:spMkLst>
            <pc:docMk/>
            <pc:sldMk cId="2369326508" sldId="346"/>
            <ac:spMk id="6" creationId="{E7F4107A-D447-E6C6-DBC5-FD95FD19F3BD}"/>
          </ac:spMkLst>
        </pc:spChg>
        <pc:spChg chg="add del mod">
          <ac:chgData name="Ischanka, Eugen" userId="e4e12248-2210-4459-89e3-acb2dd10c338" providerId="ADAL" clId="{50398678-1125-4921-BC2E-56DEFA904AD2}" dt="2023-11-18T14:33:26.453" v="13385" actId="478"/>
          <ac:spMkLst>
            <pc:docMk/>
            <pc:sldMk cId="2369326508" sldId="346"/>
            <ac:spMk id="7" creationId="{89689F10-3E6B-2F84-77F6-40EBFDF734BA}"/>
          </ac:spMkLst>
        </pc:spChg>
        <pc:spChg chg="add del mod">
          <ac:chgData name="Ischanka, Eugen" userId="e4e12248-2210-4459-89e3-acb2dd10c338" providerId="ADAL" clId="{50398678-1125-4921-BC2E-56DEFA904AD2}" dt="2023-11-18T14:33:27.524" v="13386" actId="478"/>
          <ac:spMkLst>
            <pc:docMk/>
            <pc:sldMk cId="2369326508" sldId="346"/>
            <ac:spMk id="8" creationId="{96C78B58-653F-A27B-204E-AAFEFE8640F8}"/>
          </ac:spMkLst>
        </pc:spChg>
        <pc:graphicFrameChg chg="add mod">
          <ac:chgData name="Ischanka, Eugen" userId="e4e12248-2210-4459-89e3-acb2dd10c338" providerId="ADAL" clId="{50398678-1125-4921-BC2E-56DEFA904AD2}" dt="2023-11-19T19:55:26.913" v="18841" actId="403"/>
          <ac:graphicFrameMkLst>
            <pc:docMk/>
            <pc:sldMk cId="2369326508" sldId="346"/>
            <ac:graphicFrameMk id="5" creationId="{C671E813-78AD-514F-430A-0FA468F16149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19T19:57:22.160" v="18857" actId="1076"/>
        <pc:sldMkLst>
          <pc:docMk/>
          <pc:sldMk cId="2920645228" sldId="347"/>
        </pc:sldMkLst>
        <pc:spChg chg="del">
          <ac:chgData name="Ischanka, Eugen" userId="e4e12248-2210-4459-89e3-acb2dd10c338" providerId="ADAL" clId="{50398678-1125-4921-BC2E-56DEFA904AD2}" dt="2023-11-17T09:33:20.274" v="6262"/>
          <ac:spMkLst>
            <pc:docMk/>
            <pc:sldMk cId="2920645228" sldId="347"/>
            <ac:spMk id="2" creationId="{234946D3-5030-5D0B-0913-C4DD7BB15C09}"/>
          </ac:spMkLst>
        </pc:spChg>
        <pc:spChg chg="mod">
          <ac:chgData name="Ischanka, Eugen" userId="e4e12248-2210-4459-89e3-acb2dd10c338" providerId="ADAL" clId="{50398678-1125-4921-BC2E-56DEFA904AD2}" dt="2023-11-17T09:55:51.384" v="6810" actId="20577"/>
          <ac:spMkLst>
            <pc:docMk/>
            <pc:sldMk cId="2920645228" sldId="347"/>
            <ac:spMk id="3" creationId="{BB3A3234-DC35-B007-F4DA-12C6F852E1A2}"/>
          </ac:spMkLst>
        </pc:spChg>
        <pc:spChg chg="mod">
          <ac:chgData name="Ischanka, Eugen" userId="e4e12248-2210-4459-89e3-acb2dd10c338" providerId="ADAL" clId="{50398678-1125-4921-BC2E-56DEFA904AD2}" dt="2023-11-17T07:39:29.551" v="5742"/>
          <ac:spMkLst>
            <pc:docMk/>
            <pc:sldMk cId="2920645228" sldId="347"/>
            <ac:spMk id="4" creationId="{35B161F4-B42D-44B6-48B7-BC740B5B04D3}"/>
          </ac:spMkLst>
        </pc:spChg>
        <pc:spChg chg="add mod">
          <ac:chgData name="Ischanka, Eugen" userId="e4e12248-2210-4459-89e3-acb2dd10c338" providerId="ADAL" clId="{50398678-1125-4921-BC2E-56DEFA904AD2}" dt="2023-11-17T11:49:22.497" v="9108" actId="1076"/>
          <ac:spMkLst>
            <pc:docMk/>
            <pc:sldMk cId="2920645228" sldId="347"/>
            <ac:spMk id="8" creationId="{292D3958-1F45-B0A9-36F9-50D746C94BD5}"/>
          </ac:spMkLst>
        </pc:spChg>
        <pc:spChg chg="add mod">
          <ac:chgData name="Ischanka, Eugen" userId="e4e12248-2210-4459-89e3-acb2dd10c338" providerId="ADAL" clId="{50398678-1125-4921-BC2E-56DEFA904AD2}" dt="2023-11-19T19:57:07.675" v="18854" actId="14100"/>
          <ac:spMkLst>
            <pc:docMk/>
            <pc:sldMk cId="2920645228" sldId="347"/>
            <ac:spMk id="10" creationId="{D6FCAC41-1CA4-AB7B-E247-AE8350C897C2}"/>
          </ac:spMkLst>
        </pc:spChg>
        <pc:spChg chg="add mod">
          <ac:chgData name="Ischanka, Eugen" userId="e4e12248-2210-4459-89e3-acb2dd10c338" providerId="ADAL" clId="{50398678-1125-4921-BC2E-56DEFA904AD2}" dt="2023-11-19T19:57:22.160" v="18857" actId="1076"/>
          <ac:spMkLst>
            <pc:docMk/>
            <pc:sldMk cId="2920645228" sldId="347"/>
            <ac:spMk id="11" creationId="{7DCE34C9-8EE7-7C33-2A95-29442C82D5B9}"/>
          </ac:spMkLst>
        </pc:spChg>
        <pc:spChg chg="add del mod">
          <ac:chgData name="Ischanka, Eugen" userId="e4e12248-2210-4459-89e3-acb2dd10c338" providerId="ADAL" clId="{50398678-1125-4921-BC2E-56DEFA904AD2}" dt="2023-11-17T09:55:56.579" v="6811" actId="478"/>
          <ac:spMkLst>
            <pc:docMk/>
            <pc:sldMk cId="2920645228" sldId="347"/>
            <ac:spMk id="12" creationId="{E196215F-FCD5-3B55-F05D-8556A5ECE72A}"/>
          </ac:spMkLst>
        </pc:spChg>
        <pc:spChg chg="add del mod">
          <ac:chgData name="Ischanka, Eugen" userId="e4e12248-2210-4459-89e3-acb2dd10c338" providerId="ADAL" clId="{50398678-1125-4921-BC2E-56DEFA904AD2}" dt="2023-11-17T09:55:56.579" v="6811" actId="478"/>
          <ac:spMkLst>
            <pc:docMk/>
            <pc:sldMk cId="2920645228" sldId="347"/>
            <ac:spMk id="13" creationId="{F1900042-DAE5-3A29-E7EE-7DCEFD06A451}"/>
          </ac:spMkLst>
        </pc:spChg>
        <pc:spChg chg="add mod">
          <ac:chgData name="Ischanka, Eugen" userId="e4e12248-2210-4459-89e3-acb2dd10c338" providerId="ADAL" clId="{50398678-1125-4921-BC2E-56DEFA904AD2}" dt="2023-11-18T14:36:12.441" v="13514" actId="113"/>
          <ac:spMkLst>
            <pc:docMk/>
            <pc:sldMk cId="2920645228" sldId="347"/>
            <ac:spMk id="14" creationId="{699F90F1-FECD-CC5A-96BC-9FE130A622CF}"/>
          </ac:spMkLst>
        </pc:spChg>
        <pc:spChg chg="add mod">
          <ac:chgData name="Ischanka, Eugen" userId="e4e12248-2210-4459-89e3-acb2dd10c338" providerId="ADAL" clId="{50398678-1125-4921-BC2E-56DEFA904AD2}" dt="2023-11-18T14:36:27.382" v="13517" actId="2711"/>
          <ac:spMkLst>
            <pc:docMk/>
            <pc:sldMk cId="2920645228" sldId="347"/>
            <ac:spMk id="15" creationId="{E87A7251-7A7E-86E6-8E05-47064CC4071D}"/>
          </ac:spMkLst>
        </pc:spChg>
        <pc:graphicFrameChg chg="add mod modGraphic">
          <ac:chgData name="Ischanka, Eugen" userId="e4e12248-2210-4459-89e3-acb2dd10c338" providerId="ADAL" clId="{50398678-1125-4921-BC2E-56DEFA904AD2}" dt="2023-11-17T11:49:22.497" v="9108" actId="1076"/>
          <ac:graphicFrameMkLst>
            <pc:docMk/>
            <pc:sldMk cId="2920645228" sldId="347"/>
            <ac:graphicFrameMk id="5" creationId="{92F84B60-D3C0-F818-07B3-7184D3C5D84A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1:40:24.572" v="8616" actId="120"/>
          <ac:graphicFrameMkLst>
            <pc:docMk/>
            <pc:sldMk cId="2920645228" sldId="347"/>
            <ac:graphicFrameMk id="6" creationId="{126E82FA-F4E4-EE54-FFBC-4796089EA515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1:48:53.923" v="9104" actId="1076"/>
          <ac:graphicFrameMkLst>
            <pc:docMk/>
            <pc:sldMk cId="2920645228" sldId="347"/>
            <ac:graphicFrameMk id="7" creationId="{0F47833B-2F42-456D-13D8-F9B74283D9F2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1:48:53.923" v="9104" actId="1076"/>
          <ac:graphicFrameMkLst>
            <pc:docMk/>
            <pc:sldMk cId="2920645228" sldId="347"/>
            <ac:graphicFrameMk id="9" creationId="{5AD5AD8A-3D17-48F1-A08D-BEABCE5B11FE}"/>
          </ac:graphicFrameMkLst>
        </pc:graphicFrameChg>
      </pc:sldChg>
      <pc:sldChg chg="modSp add del mod">
        <pc:chgData name="Ischanka, Eugen" userId="e4e12248-2210-4459-89e3-acb2dd10c338" providerId="ADAL" clId="{50398678-1125-4921-BC2E-56DEFA904AD2}" dt="2023-11-17T15:53:44.360" v="12386" actId="47"/>
        <pc:sldMkLst>
          <pc:docMk/>
          <pc:sldMk cId="1696860700" sldId="348"/>
        </pc:sldMkLst>
        <pc:spChg chg="mod">
          <ac:chgData name="Ischanka, Eugen" userId="e4e12248-2210-4459-89e3-acb2dd10c338" providerId="ADAL" clId="{50398678-1125-4921-BC2E-56DEFA904AD2}" dt="2023-11-17T13:42:04.935" v="11009" actId="1076"/>
          <ac:spMkLst>
            <pc:docMk/>
            <pc:sldMk cId="1696860700" sldId="348"/>
            <ac:spMk id="2" creationId="{F6AFAE9D-418A-5291-0508-0F267A32C874}"/>
          </ac:spMkLst>
        </pc:spChg>
      </pc:sldChg>
      <pc:sldChg chg="addSp delSp modSp new mod">
        <pc:chgData name="Ischanka, Eugen" userId="e4e12248-2210-4459-89e3-acb2dd10c338" providerId="ADAL" clId="{50398678-1125-4921-BC2E-56DEFA904AD2}" dt="2023-11-18T14:35:41.332" v="13509" actId="113"/>
        <pc:sldMkLst>
          <pc:docMk/>
          <pc:sldMk cId="1974938439" sldId="349"/>
        </pc:sldMkLst>
        <pc:spChg chg="del">
          <ac:chgData name="Ischanka, Eugen" userId="e4e12248-2210-4459-89e3-acb2dd10c338" providerId="ADAL" clId="{50398678-1125-4921-BC2E-56DEFA904AD2}" dt="2023-11-17T07:43:05.785" v="5769"/>
          <ac:spMkLst>
            <pc:docMk/>
            <pc:sldMk cId="1974938439" sldId="349"/>
            <ac:spMk id="2" creationId="{70E71993-81DB-AD5D-4416-32CF41968AFD}"/>
          </ac:spMkLst>
        </pc:spChg>
        <pc:spChg chg="mod">
          <ac:chgData name="Ischanka, Eugen" userId="e4e12248-2210-4459-89e3-acb2dd10c338" providerId="ADAL" clId="{50398678-1125-4921-BC2E-56DEFA904AD2}" dt="2023-11-17T09:23:44.962" v="5964" actId="20577"/>
          <ac:spMkLst>
            <pc:docMk/>
            <pc:sldMk cId="1974938439" sldId="349"/>
            <ac:spMk id="3" creationId="{F938F78F-B6C1-2651-0189-2110C802B580}"/>
          </ac:spMkLst>
        </pc:spChg>
        <pc:spChg chg="mod">
          <ac:chgData name="Ischanka, Eugen" userId="e4e12248-2210-4459-89e3-acb2dd10c338" providerId="ADAL" clId="{50398678-1125-4921-BC2E-56DEFA904AD2}" dt="2023-11-17T09:26:58.404" v="6110"/>
          <ac:spMkLst>
            <pc:docMk/>
            <pc:sldMk cId="1974938439" sldId="349"/>
            <ac:spMk id="4" creationId="{803CD5D5-9DD0-AAA9-1004-6C7BA826BA98}"/>
          </ac:spMkLst>
        </pc:spChg>
        <pc:spChg chg="add del mod">
          <ac:chgData name="Ischanka, Eugen" userId="e4e12248-2210-4459-89e3-acb2dd10c338" providerId="ADAL" clId="{50398678-1125-4921-BC2E-56DEFA904AD2}" dt="2023-11-17T07:43:58.782" v="5775"/>
          <ac:spMkLst>
            <pc:docMk/>
            <pc:sldMk cId="1974938439" sldId="349"/>
            <ac:spMk id="7" creationId="{10724ED9-8775-E369-8A54-C106A9D1B941}"/>
          </ac:spMkLst>
        </pc:spChg>
        <pc:spChg chg="add del mod">
          <ac:chgData name="Ischanka, Eugen" userId="e4e12248-2210-4459-89e3-acb2dd10c338" providerId="ADAL" clId="{50398678-1125-4921-BC2E-56DEFA904AD2}" dt="2023-11-17T09:14:55.790" v="5792"/>
          <ac:spMkLst>
            <pc:docMk/>
            <pc:sldMk cId="1974938439" sldId="349"/>
            <ac:spMk id="10" creationId="{1418FB14-45EF-2187-849E-062FD3854442}"/>
          </ac:spMkLst>
        </pc:spChg>
        <pc:spChg chg="add del mod">
          <ac:chgData name="Ischanka, Eugen" userId="e4e12248-2210-4459-89e3-acb2dd10c338" providerId="ADAL" clId="{50398678-1125-4921-BC2E-56DEFA904AD2}" dt="2023-11-17T09:15:24.408" v="5794"/>
          <ac:spMkLst>
            <pc:docMk/>
            <pc:sldMk cId="1974938439" sldId="349"/>
            <ac:spMk id="13" creationId="{9B143671-747E-2B2C-5ADA-E2C62E371C6A}"/>
          </ac:spMkLst>
        </pc:spChg>
        <pc:spChg chg="add del mod">
          <ac:chgData name="Ischanka, Eugen" userId="e4e12248-2210-4459-89e3-acb2dd10c338" providerId="ADAL" clId="{50398678-1125-4921-BC2E-56DEFA904AD2}" dt="2023-11-17T09:20:21.764" v="5835" actId="478"/>
          <ac:spMkLst>
            <pc:docMk/>
            <pc:sldMk cId="1974938439" sldId="349"/>
            <ac:spMk id="16" creationId="{60D33E58-826F-44E6-3CFE-D981AADE6446}"/>
          </ac:spMkLst>
        </pc:spChg>
        <pc:spChg chg="add mod">
          <ac:chgData name="Ischanka, Eugen" userId="e4e12248-2210-4459-89e3-acb2dd10c338" providerId="ADAL" clId="{50398678-1125-4921-BC2E-56DEFA904AD2}" dt="2023-11-18T14:35:41.332" v="13509" actId="113"/>
          <ac:spMkLst>
            <pc:docMk/>
            <pc:sldMk cId="1974938439" sldId="349"/>
            <ac:spMk id="18" creationId="{CA16C171-3D4A-1D77-CEE7-5893B3ACD923}"/>
          </ac:spMkLst>
        </pc:spChg>
        <pc:spChg chg="add del mod">
          <ac:chgData name="Ischanka, Eugen" userId="e4e12248-2210-4459-89e3-acb2dd10c338" providerId="ADAL" clId="{50398678-1125-4921-BC2E-56DEFA904AD2}" dt="2023-11-17T09:25:50.856" v="6012" actId="478"/>
          <ac:spMkLst>
            <pc:docMk/>
            <pc:sldMk cId="1974938439" sldId="349"/>
            <ac:spMk id="19" creationId="{FEB50345-67C2-DC5F-40A8-A3CF80E039D3}"/>
          </ac:spMkLst>
        </pc:spChg>
        <pc:graphicFrameChg chg="add del mod modGraphic">
          <ac:chgData name="Ischanka, Eugen" userId="e4e12248-2210-4459-89e3-acb2dd10c338" providerId="ADAL" clId="{50398678-1125-4921-BC2E-56DEFA904AD2}" dt="2023-11-17T07:43:56.225" v="5774" actId="478"/>
          <ac:graphicFrameMkLst>
            <pc:docMk/>
            <pc:sldMk cId="1974938439" sldId="349"/>
            <ac:graphicFrameMk id="5" creationId="{51134D4D-D5B9-20BD-9CD5-40ACFF904D42}"/>
          </ac:graphicFrameMkLst>
        </pc:graphicFrameChg>
        <pc:graphicFrameChg chg="add del mod modGraphic">
          <ac:chgData name="Ischanka, Eugen" userId="e4e12248-2210-4459-89e3-acb2dd10c338" providerId="ADAL" clId="{50398678-1125-4921-BC2E-56DEFA904AD2}" dt="2023-11-17T09:04:08.431" v="5788" actId="478"/>
          <ac:graphicFrameMkLst>
            <pc:docMk/>
            <pc:sldMk cId="1974938439" sldId="349"/>
            <ac:graphicFrameMk id="8" creationId="{3A3292B0-B789-DA2B-C873-3A9B1A0451F4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09:15:21.184" v="5793" actId="478"/>
          <ac:graphicFrameMkLst>
            <pc:docMk/>
            <pc:sldMk cId="1974938439" sldId="349"/>
            <ac:graphicFrameMk id="11" creationId="{3A52BC0B-F885-6BCF-E06A-1D650D8D9D98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09:23:08.098" v="5885" actId="3064"/>
          <ac:graphicFrameMkLst>
            <pc:docMk/>
            <pc:sldMk cId="1974938439" sldId="349"/>
            <ac:graphicFrameMk id="14" creationId="{021865AE-B14B-7BF3-1742-CC2C6501F158}"/>
          </ac:graphicFrameMkLst>
        </pc:graphicFrameChg>
        <pc:graphicFrameChg chg="add del mod modGraphic">
          <ac:chgData name="Ischanka, Eugen" userId="e4e12248-2210-4459-89e3-acb2dd10c338" providerId="ADAL" clId="{50398678-1125-4921-BC2E-56DEFA904AD2}" dt="2023-11-17T09:26:48.555" v="6109" actId="113"/>
          <ac:graphicFrameMkLst>
            <pc:docMk/>
            <pc:sldMk cId="1974938439" sldId="349"/>
            <ac:graphicFrameMk id="17" creationId="{0FD16FB1-183A-3160-BA43-611B1773398E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19T19:57:56.316" v="18863" actId="1076"/>
        <pc:sldMkLst>
          <pc:docMk/>
          <pc:sldMk cId="4125406410" sldId="350"/>
        </pc:sldMkLst>
        <pc:spChg chg="del">
          <ac:chgData name="Ischanka, Eugen" userId="e4e12248-2210-4459-89e3-acb2dd10c338" providerId="ADAL" clId="{50398678-1125-4921-BC2E-56DEFA904AD2}" dt="2023-11-17T11:13:19.722" v="7451"/>
          <ac:spMkLst>
            <pc:docMk/>
            <pc:sldMk cId="4125406410" sldId="350"/>
            <ac:spMk id="2" creationId="{14472BFF-FD6E-6A90-9DDE-6E5094C2735A}"/>
          </ac:spMkLst>
        </pc:spChg>
        <pc:spChg chg="mod">
          <ac:chgData name="Ischanka, Eugen" userId="e4e12248-2210-4459-89e3-acb2dd10c338" providerId="ADAL" clId="{50398678-1125-4921-BC2E-56DEFA904AD2}" dt="2023-11-17T11:16:35.178" v="7508" actId="20577"/>
          <ac:spMkLst>
            <pc:docMk/>
            <pc:sldMk cId="4125406410" sldId="350"/>
            <ac:spMk id="3" creationId="{31BE7C5E-4B4F-B265-7B46-F853444A45DC}"/>
          </ac:spMkLst>
        </pc:spChg>
        <pc:spChg chg="mod">
          <ac:chgData name="Ischanka, Eugen" userId="e4e12248-2210-4459-89e3-acb2dd10c338" providerId="ADAL" clId="{50398678-1125-4921-BC2E-56DEFA904AD2}" dt="2023-11-17T11:16:07.844" v="7486"/>
          <ac:spMkLst>
            <pc:docMk/>
            <pc:sldMk cId="4125406410" sldId="350"/>
            <ac:spMk id="4" creationId="{866B36A7-9FEC-C98E-A833-4C28AC6FE691}"/>
          </ac:spMkLst>
        </pc:spChg>
        <pc:spChg chg="add mod">
          <ac:chgData name="Ischanka, Eugen" userId="e4e12248-2210-4459-89e3-acb2dd10c338" providerId="ADAL" clId="{50398678-1125-4921-BC2E-56DEFA904AD2}" dt="2023-11-19T19:57:56.316" v="18863" actId="1076"/>
          <ac:spMkLst>
            <pc:docMk/>
            <pc:sldMk cId="4125406410" sldId="350"/>
            <ac:spMk id="9" creationId="{6DF4B5DA-47CE-1690-6DD8-BDDFC75975EA}"/>
          </ac:spMkLst>
        </pc:spChg>
        <pc:spChg chg="add mod">
          <ac:chgData name="Ischanka, Eugen" userId="e4e12248-2210-4459-89e3-acb2dd10c338" providerId="ADAL" clId="{50398678-1125-4921-BC2E-56DEFA904AD2}" dt="2023-11-17T11:58:47.645" v="9348" actId="1076"/>
          <ac:spMkLst>
            <pc:docMk/>
            <pc:sldMk cId="4125406410" sldId="350"/>
            <ac:spMk id="10" creationId="{408E6D79-3C01-2153-BF7C-F323939DC5B9}"/>
          </ac:spMkLst>
        </pc:spChg>
        <pc:spChg chg="add mod">
          <ac:chgData name="Ischanka, Eugen" userId="e4e12248-2210-4459-89e3-acb2dd10c338" providerId="ADAL" clId="{50398678-1125-4921-BC2E-56DEFA904AD2}" dt="2023-11-19T19:57:36.832" v="18859" actId="207"/>
          <ac:spMkLst>
            <pc:docMk/>
            <pc:sldMk cId="4125406410" sldId="350"/>
            <ac:spMk id="11" creationId="{12CD939D-CBEF-84F7-86E4-194DB0D5F7FE}"/>
          </ac:spMkLst>
        </pc:spChg>
        <pc:spChg chg="add mod">
          <ac:chgData name="Ischanka, Eugen" userId="e4e12248-2210-4459-89e3-acb2dd10c338" providerId="ADAL" clId="{50398678-1125-4921-BC2E-56DEFA904AD2}" dt="2023-11-18T14:36:46.949" v="13520" actId="2711"/>
          <ac:spMkLst>
            <pc:docMk/>
            <pc:sldMk cId="4125406410" sldId="350"/>
            <ac:spMk id="12" creationId="{D37A4849-0BC7-7CC8-6762-063878B66069}"/>
          </ac:spMkLst>
        </pc:spChg>
        <pc:graphicFrameChg chg="add mod modGraphic">
          <ac:chgData name="Ischanka, Eugen" userId="e4e12248-2210-4459-89e3-acb2dd10c338" providerId="ADAL" clId="{50398678-1125-4921-BC2E-56DEFA904AD2}" dt="2023-11-17T11:58:47.645" v="9348" actId="1076"/>
          <ac:graphicFrameMkLst>
            <pc:docMk/>
            <pc:sldMk cId="4125406410" sldId="350"/>
            <ac:graphicFrameMk id="5" creationId="{5E64B79C-7823-79D6-D740-5F685432FC5D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6:18:15.025" v="12910"/>
          <ac:graphicFrameMkLst>
            <pc:docMk/>
            <pc:sldMk cId="4125406410" sldId="350"/>
            <ac:graphicFrameMk id="8" creationId="{1F65C193-8DF8-9A3B-A091-993DD8ADB589}"/>
          </ac:graphicFrameMkLst>
        </pc:graphicFrameChg>
      </pc:sldChg>
      <pc:sldChg chg="addSp delSp modSp add mod">
        <pc:chgData name="Ischanka, Eugen" userId="e4e12248-2210-4459-89e3-acb2dd10c338" providerId="ADAL" clId="{50398678-1125-4921-BC2E-56DEFA904AD2}" dt="2023-11-19T19:58:10.752" v="18866" actId="1076"/>
        <pc:sldMkLst>
          <pc:docMk/>
          <pc:sldMk cId="2096330239" sldId="351"/>
        </pc:sldMkLst>
        <pc:spChg chg="mod">
          <ac:chgData name="Ischanka, Eugen" userId="e4e12248-2210-4459-89e3-acb2dd10c338" providerId="ADAL" clId="{50398678-1125-4921-BC2E-56DEFA904AD2}" dt="2023-11-17T11:55:19.856" v="9260" actId="20577"/>
          <ac:spMkLst>
            <pc:docMk/>
            <pc:sldMk cId="2096330239" sldId="351"/>
            <ac:spMk id="3" creationId="{31BE7C5E-4B4F-B265-7B46-F853444A45DC}"/>
          </ac:spMkLst>
        </pc:spChg>
        <pc:spChg chg="add del mod">
          <ac:chgData name="Ischanka, Eugen" userId="e4e12248-2210-4459-89e3-acb2dd10c338" providerId="ADAL" clId="{50398678-1125-4921-BC2E-56DEFA904AD2}" dt="2023-11-17T11:37:54.610" v="8551" actId="478"/>
          <ac:spMkLst>
            <pc:docMk/>
            <pc:sldMk cId="2096330239" sldId="351"/>
            <ac:spMk id="6" creationId="{FAC53C7D-F6E1-0EC7-3D41-0D3C5D7B0E11}"/>
          </ac:spMkLst>
        </pc:spChg>
        <pc:spChg chg="del">
          <ac:chgData name="Ischanka, Eugen" userId="e4e12248-2210-4459-89e3-acb2dd10c338" providerId="ADAL" clId="{50398678-1125-4921-BC2E-56DEFA904AD2}" dt="2023-11-17T11:37:10.774" v="8546" actId="478"/>
          <ac:spMkLst>
            <pc:docMk/>
            <pc:sldMk cId="2096330239" sldId="351"/>
            <ac:spMk id="9" creationId="{6DF4B5DA-47CE-1690-6DD8-BDDFC75975EA}"/>
          </ac:spMkLst>
        </pc:spChg>
        <pc:spChg chg="del">
          <ac:chgData name="Ischanka, Eugen" userId="e4e12248-2210-4459-89e3-acb2dd10c338" providerId="ADAL" clId="{50398678-1125-4921-BC2E-56DEFA904AD2}" dt="2023-11-17T11:37:10.774" v="8546" actId="478"/>
          <ac:spMkLst>
            <pc:docMk/>
            <pc:sldMk cId="2096330239" sldId="351"/>
            <ac:spMk id="10" creationId="{408E6D79-3C01-2153-BF7C-F323939DC5B9}"/>
          </ac:spMkLst>
        </pc:spChg>
        <pc:spChg chg="del">
          <ac:chgData name="Ischanka, Eugen" userId="e4e12248-2210-4459-89e3-acb2dd10c338" providerId="ADAL" clId="{50398678-1125-4921-BC2E-56DEFA904AD2}" dt="2023-11-17T11:37:10.774" v="8546" actId="478"/>
          <ac:spMkLst>
            <pc:docMk/>
            <pc:sldMk cId="2096330239" sldId="351"/>
            <ac:spMk id="11" creationId="{12CD939D-CBEF-84F7-86E4-194DB0D5F7FE}"/>
          </ac:spMkLst>
        </pc:spChg>
        <pc:spChg chg="add mod">
          <ac:chgData name="Ischanka, Eugen" userId="e4e12248-2210-4459-89e3-acb2dd10c338" providerId="ADAL" clId="{50398678-1125-4921-BC2E-56DEFA904AD2}" dt="2023-11-18T14:37:10.337" v="13526" actId="207"/>
          <ac:spMkLst>
            <pc:docMk/>
            <pc:sldMk cId="2096330239" sldId="351"/>
            <ac:spMk id="13" creationId="{881E85D8-1C89-67D7-A81A-33EBCC439BD9}"/>
          </ac:spMkLst>
        </pc:spChg>
        <pc:spChg chg="add mod">
          <ac:chgData name="Ischanka, Eugen" userId="e4e12248-2210-4459-89e3-acb2dd10c338" providerId="ADAL" clId="{50398678-1125-4921-BC2E-56DEFA904AD2}" dt="2023-11-18T14:37:10.337" v="13526" actId="207"/>
          <ac:spMkLst>
            <pc:docMk/>
            <pc:sldMk cId="2096330239" sldId="351"/>
            <ac:spMk id="15" creationId="{21CB93CD-13F6-688B-F382-0AFEC36E71CB}"/>
          </ac:spMkLst>
        </pc:spChg>
        <pc:spChg chg="add del mod">
          <ac:chgData name="Ischanka, Eugen" userId="e4e12248-2210-4459-89e3-acb2dd10c338" providerId="ADAL" clId="{50398678-1125-4921-BC2E-56DEFA904AD2}" dt="2023-11-17T11:51:37.115" v="9157" actId="478"/>
          <ac:spMkLst>
            <pc:docMk/>
            <pc:sldMk cId="2096330239" sldId="351"/>
            <ac:spMk id="16" creationId="{38351B66-504D-140F-3A4E-324820BACBC6}"/>
          </ac:spMkLst>
        </pc:spChg>
        <pc:spChg chg="add mod">
          <ac:chgData name="Ischanka, Eugen" userId="e4e12248-2210-4459-89e3-acb2dd10c338" providerId="ADAL" clId="{50398678-1125-4921-BC2E-56DEFA904AD2}" dt="2023-11-18T14:37:01.780" v="13523" actId="207"/>
          <ac:spMkLst>
            <pc:docMk/>
            <pc:sldMk cId="2096330239" sldId="351"/>
            <ac:spMk id="18" creationId="{80AC54C9-A6F5-8C33-7E3D-96004D0EFEE6}"/>
          </ac:spMkLst>
        </pc:spChg>
        <pc:spChg chg="add mod">
          <ac:chgData name="Ischanka, Eugen" userId="e4e12248-2210-4459-89e3-acb2dd10c338" providerId="ADAL" clId="{50398678-1125-4921-BC2E-56DEFA904AD2}" dt="2023-11-17T12:15:41.724" v="9846" actId="1076"/>
          <ac:spMkLst>
            <pc:docMk/>
            <pc:sldMk cId="2096330239" sldId="351"/>
            <ac:spMk id="19" creationId="{6E9200C9-485F-9D38-1EBC-1B496B53E159}"/>
          </ac:spMkLst>
        </pc:spChg>
        <pc:spChg chg="add mod">
          <ac:chgData name="Ischanka, Eugen" userId="e4e12248-2210-4459-89e3-acb2dd10c338" providerId="ADAL" clId="{50398678-1125-4921-BC2E-56DEFA904AD2}" dt="2023-11-19T19:58:10.752" v="18866" actId="1076"/>
          <ac:spMkLst>
            <pc:docMk/>
            <pc:sldMk cId="2096330239" sldId="351"/>
            <ac:spMk id="20" creationId="{FB0A2DB0-8933-E31B-48D3-D36A83BD97A7}"/>
          </ac:spMkLst>
        </pc:spChg>
        <pc:spChg chg="add del mod">
          <ac:chgData name="Ischanka, Eugen" userId="e4e12248-2210-4459-89e3-acb2dd10c338" providerId="ADAL" clId="{50398678-1125-4921-BC2E-56DEFA904AD2}" dt="2023-11-17T11:58:24.926" v="9346" actId="478"/>
          <ac:spMkLst>
            <pc:docMk/>
            <pc:sldMk cId="2096330239" sldId="351"/>
            <ac:spMk id="21" creationId="{0CE7D754-82B5-9835-EF5E-CFB13F74982E}"/>
          </ac:spMkLst>
        </pc:spChg>
        <pc:graphicFrameChg chg="del">
          <ac:chgData name="Ischanka, Eugen" userId="e4e12248-2210-4459-89e3-acb2dd10c338" providerId="ADAL" clId="{50398678-1125-4921-BC2E-56DEFA904AD2}" dt="2023-11-17T11:37:10.774" v="8546" actId="478"/>
          <ac:graphicFrameMkLst>
            <pc:docMk/>
            <pc:sldMk cId="2096330239" sldId="351"/>
            <ac:graphicFrameMk id="5" creationId="{5E64B79C-7823-79D6-D740-5F685432FC5D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36.557" v="9845" actId="1076"/>
          <ac:graphicFrameMkLst>
            <pc:docMk/>
            <pc:sldMk cId="2096330239" sldId="351"/>
            <ac:graphicFrameMk id="7" creationId="{2721710C-2549-5EBD-2C2E-42FD37F624B9}"/>
          </ac:graphicFrameMkLst>
        </pc:graphicFrameChg>
        <pc:graphicFrameChg chg="del">
          <ac:chgData name="Ischanka, Eugen" userId="e4e12248-2210-4459-89e3-acb2dd10c338" providerId="ADAL" clId="{50398678-1125-4921-BC2E-56DEFA904AD2}" dt="2023-11-17T11:37:10.774" v="8546" actId="478"/>
          <ac:graphicFrameMkLst>
            <pc:docMk/>
            <pc:sldMk cId="2096330239" sldId="351"/>
            <ac:graphicFrameMk id="8" creationId="{1F65C193-8DF8-9A3B-A091-993DD8ADB589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32.601" v="9844" actId="1076"/>
          <ac:graphicFrameMkLst>
            <pc:docMk/>
            <pc:sldMk cId="2096330239" sldId="351"/>
            <ac:graphicFrameMk id="12" creationId="{0CB00D42-42A9-9EAE-BECE-944D20913F1F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32.601" v="9844" actId="1076"/>
          <ac:graphicFrameMkLst>
            <pc:docMk/>
            <pc:sldMk cId="2096330239" sldId="351"/>
            <ac:graphicFrameMk id="14" creationId="{A25A10E0-A538-1F56-1B76-53DC1C86844C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41.724" v="9846" actId="1076"/>
          <ac:graphicFrameMkLst>
            <pc:docMk/>
            <pc:sldMk cId="2096330239" sldId="351"/>
            <ac:graphicFrameMk id="17" creationId="{2AC2DFBD-BF4B-D190-3524-D40F407875C1}"/>
          </ac:graphicFrameMkLst>
        </pc:graphicFrameChg>
      </pc:sldChg>
      <pc:sldChg chg="modSp add del mod ord">
        <pc:chgData name="Ischanka, Eugen" userId="e4e12248-2210-4459-89e3-acb2dd10c338" providerId="ADAL" clId="{50398678-1125-4921-BC2E-56DEFA904AD2}" dt="2023-11-17T16:08:36.404" v="12715" actId="47"/>
        <pc:sldMkLst>
          <pc:docMk/>
          <pc:sldMk cId="2261984817" sldId="352"/>
        </pc:sldMkLst>
        <pc:spChg chg="mod">
          <ac:chgData name="Ischanka, Eugen" userId="e4e12248-2210-4459-89e3-acb2dd10c338" providerId="ADAL" clId="{50398678-1125-4921-BC2E-56DEFA904AD2}" dt="2023-11-17T13:41:32.745" v="10985" actId="1076"/>
          <ac:spMkLst>
            <pc:docMk/>
            <pc:sldMk cId="2261984817" sldId="352"/>
            <ac:spMk id="2" creationId="{F6AFAE9D-418A-5291-0508-0F267A32C874}"/>
          </ac:spMkLst>
        </pc:spChg>
      </pc:sldChg>
      <pc:sldChg chg="addSp delSp modSp new mod">
        <pc:chgData name="Ischanka, Eugen" userId="e4e12248-2210-4459-89e3-acb2dd10c338" providerId="ADAL" clId="{50398678-1125-4921-BC2E-56DEFA904AD2}" dt="2023-11-20T16:42:38.597" v="25626"/>
        <pc:sldMkLst>
          <pc:docMk/>
          <pc:sldMk cId="1816946488" sldId="353"/>
        </pc:sldMkLst>
        <pc:spChg chg="del">
          <ac:chgData name="Ischanka, Eugen" userId="e4e12248-2210-4459-89e3-acb2dd10c338" providerId="ADAL" clId="{50398678-1125-4921-BC2E-56DEFA904AD2}" dt="2023-11-17T13:12:56.112" v="10603"/>
          <ac:spMkLst>
            <pc:docMk/>
            <pc:sldMk cId="1816946488" sldId="353"/>
            <ac:spMk id="2" creationId="{8E9530F9-E9C7-A287-4C68-E0BE79FF7BBE}"/>
          </ac:spMkLst>
        </pc:spChg>
        <pc:spChg chg="mod">
          <ac:chgData name="Ischanka, Eugen" userId="e4e12248-2210-4459-89e3-acb2dd10c338" providerId="ADAL" clId="{50398678-1125-4921-BC2E-56DEFA904AD2}" dt="2023-11-18T14:39:26.663" v="13614" actId="20577"/>
          <ac:spMkLst>
            <pc:docMk/>
            <pc:sldMk cId="1816946488" sldId="353"/>
            <ac:spMk id="3" creationId="{A8229CC4-DA39-03D3-9A54-5BF7CC3A662C}"/>
          </ac:spMkLst>
        </pc:spChg>
        <pc:spChg chg="mod">
          <ac:chgData name="Ischanka, Eugen" userId="e4e12248-2210-4459-89e3-acb2dd10c338" providerId="ADAL" clId="{50398678-1125-4921-BC2E-56DEFA904AD2}" dt="2023-11-17T11:59:20.414" v="9351"/>
          <ac:spMkLst>
            <pc:docMk/>
            <pc:sldMk cId="1816946488" sldId="353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50398678-1125-4921-BC2E-56DEFA904AD2}" dt="2023-11-17T13:14:47.726" v="10649"/>
          <ac:spMkLst>
            <pc:docMk/>
            <pc:sldMk cId="1816946488" sldId="353"/>
            <ac:spMk id="7" creationId="{76CA8EFD-68EC-961F-4B69-FBF30588AA99}"/>
          </ac:spMkLst>
        </pc:spChg>
        <pc:spChg chg="add mod">
          <ac:chgData name="Ischanka, Eugen" userId="e4e12248-2210-4459-89e3-acb2dd10c338" providerId="ADAL" clId="{50398678-1125-4921-BC2E-56DEFA904AD2}" dt="2023-11-20T16:42:29.941" v="25625" actId="20577"/>
          <ac:spMkLst>
            <pc:docMk/>
            <pc:sldMk cId="1816946488" sldId="353"/>
            <ac:spMk id="10" creationId="{026E4F25-DC3B-F9BC-C487-359382D2D60C}"/>
          </ac:spMkLst>
        </pc:spChg>
        <pc:graphicFrameChg chg="add del mod">
          <ac:chgData name="Ischanka, Eugen" userId="e4e12248-2210-4459-89e3-acb2dd10c338" providerId="ADAL" clId="{50398678-1125-4921-BC2E-56DEFA904AD2}" dt="2023-11-17T13:14:45.678" v="10647" actId="478"/>
          <ac:graphicFrameMkLst>
            <pc:docMk/>
            <pc:sldMk cId="1816946488" sldId="353"/>
            <ac:graphicFrameMk id="5" creationId="{F721A110-647B-4370-B71D-D27ABBDB5DE3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42:38.597" v="25626"/>
          <ac:graphicFrameMkLst>
            <pc:docMk/>
            <pc:sldMk cId="1816946488" sldId="353"/>
            <ac:graphicFrameMk id="8" creationId="{F721A110-647B-4370-B71D-D27ABBDB5DE3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3:25:49.209" v="10856" actId="20577"/>
          <ac:graphicFrameMkLst>
            <pc:docMk/>
            <pc:sldMk cId="1816946488" sldId="353"/>
            <ac:graphicFrameMk id="9" creationId="{74A27068-7CF8-0E9A-5FF0-DA130878344B}"/>
          </ac:graphicFrameMkLst>
        </pc:graphicFrameChg>
      </pc:sldChg>
      <pc:sldChg chg="addSp delSp modSp add del mod ord">
        <pc:chgData name="Ischanka, Eugen" userId="e4e12248-2210-4459-89e3-acb2dd10c338" providerId="ADAL" clId="{50398678-1125-4921-BC2E-56DEFA904AD2}" dt="2023-11-18T15:15:41.772" v="13878" actId="47"/>
        <pc:sldMkLst>
          <pc:docMk/>
          <pc:sldMk cId="4008434761" sldId="354"/>
        </pc:sldMkLst>
        <pc:spChg chg="del">
          <ac:chgData name="Ischanka, Eugen" userId="e4e12248-2210-4459-89e3-acb2dd10c338" providerId="ADAL" clId="{50398678-1125-4921-BC2E-56DEFA904AD2}" dt="2023-11-17T12:21:37.428" v="9850"/>
          <ac:spMkLst>
            <pc:docMk/>
            <pc:sldMk cId="4008434761" sldId="354"/>
            <ac:spMk id="2" creationId="{8E9530F9-E9C7-A287-4C68-E0BE79FF7BBE}"/>
          </ac:spMkLst>
        </pc:spChg>
        <pc:spChg chg="mod">
          <ac:chgData name="Ischanka, Eugen" userId="e4e12248-2210-4459-89e3-acb2dd10c338" providerId="ADAL" clId="{50398678-1125-4921-BC2E-56DEFA904AD2}" dt="2023-11-18T14:39:54.731" v="13618" actId="20577"/>
          <ac:spMkLst>
            <pc:docMk/>
            <pc:sldMk cId="4008434761" sldId="354"/>
            <ac:spMk id="3" creationId="{A8229CC4-DA39-03D3-9A54-5BF7CC3A662C}"/>
          </ac:spMkLst>
        </pc:spChg>
        <pc:spChg chg="add del mod">
          <ac:chgData name="Ischanka, Eugen" userId="e4e12248-2210-4459-89e3-acb2dd10c338" providerId="ADAL" clId="{50398678-1125-4921-BC2E-56DEFA904AD2}" dt="2023-11-17T12:33:02.024" v="9906"/>
          <ac:spMkLst>
            <pc:docMk/>
            <pc:sldMk cId="4008434761" sldId="354"/>
            <ac:spMk id="7" creationId="{4A7C8FB3-0D08-9BD4-26C4-C0D742F8BE1C}"/>
          </ac:spMkLst>
        </pc:spChg>
        <pc:spChg chg="add del mod">
          <ac:chgData name="Ischanka, Eugen" userId="e4e12248-2210-4459-89e3-acb2dd10c338" providerId="ADAL" clId="{50398678-1125-4921-BC2E-56DEFA904AD2}" dt="2023-11-17T12:35:47.002" v="10110" actId="478"/>
          <ac:spMkLst>
            <pc:docMk/>
            <pc:sldMk cId="4008434761" sldId="354"/>
            <ac:spMk id="9" creationId="{08E73250-DF58-2846-3892-41763D677CF7}"/>
          </ac:spMkLst>
        </pc:spChg>
        <pc:spChg chg="add mod">
          <ac:chgData name="Ischanka, Eugen" userId="e4e12248-2210-4459-89e3-acb2dd10c338" providerId="ADAL" clId="{50398678-1125-4921-BC2E-56DEFA904AD2}" dt="2023-11-17T12:57:00.506" v="10519" actId="207"/>
          <ac:spMkLst>
            <pc:docMk/>
            <pc:sldMk cId="4008434761" sldId="354"/>
            <ac:spMk id="13" creationId="{91F6E0EC-DDA5-C651-7F41-4BC5D5E50955}"/>
          </ac:spMkLst>
        </pc:spChg>
        <pc:spChg chg="add mod">
          <ac:chgData name="Ischanka, Eugen" userId="e4e12248-2210-4459-89e3-acb2dd10c338" providerId="ADAL" clId="{50398678-1125-4921-BC2E-56DEFA904AD2}" dt="2023-11-17T14:21:54.542" v="11523" actId="207"/>
          <ac:spMkLst>
            <pc:docMk/>
            <pc:sldMk cId="4008434761" sldId="354"/>
            <ac:spMk id="14" creationId="{7F520C47-48E9-A53A-D646-2AC619D618C1}"/>
          </ac:spMkLst>
        </pc:spChg>
        <pc:graphicFrameChg chg="add del mod">
          <ac:chgData name="Ischanka, Eugen" userId="e4e12248-2210-4459-89e3-acb2dd10c338" providerId="ADAL" clId="{50398678-1125-4921-BC2E-56DEFA904AD2}" dt="2023-11-17T12:31:45.838" v="9904" actId="478"/>
          <ac:graphicFrameMkLst>
            <pc:docMk/>
            <pc:sldMk cId="4008434761" sldId="354"/>
            <ac:graphicFrameMk id="5" creationId="{5931CF00-AB21-6346-4516-D14596618AA1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4:22:19.009" v="11527"/>
          <ac:graphicFrameMkLst>
            <pc:docMk/>
            <pc:sldMk cId="4008434761" sldId="354"/>
            <ac:graphicFrameMk id="8" creationId="{F06B6FBF-15B2-1687-4FE2-3990CDA5F7F8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2:39:59.827" v="10136" actId="478"/>
          <ac:graphicFrameMkLst>
            <pc:docMk/>
            <pc:sldMk cId="4008434761" sldId="354"/>
            <ac:graphicFrameMk id="10" creationId="{AE1B7FE1-9C0E-44B0-B6C8-458B4B8514BF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2:52:00.880" v="10344" actId="478"/>
          <ac:graphicFrameMkLst>
            <pc:docMk/>
            <pc:sldMk cId="4008434761" sldId="354"/>
            <ac:graphicFrameMk id="11" creationId="{6C725F2A-DC53-62D6-AD09-6EA1B5D57C39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6:18:30.943" v="12911"/>
          <ac:graphicFrameMkLst>
            <pc:docMk/>
            <pc:sldMk cId="4008434761" sldId="354"/>
            <ac:graphicFrameMk id="12" creationId="{6C725F2A-DC53-62D6-AD09-6EA1B5D57C39}"/>
          </ac:graphicFrameMkLst>
        </pc:graphicFrameChg>
      </pc:sldChg>
      <pc:sldChg chg="add del">
        <pc:chgData name="Ischanka, Eugen" userId="e4e12248-2210-4459-89e3-acb2dd10c338" providerId="ADAL" clId="{50398678-1125-4921-BC2E-56DEFA904AD2}" dt="2023-11-17T16:05:21.073" v="12543" actId="47"/>
        <pc:sldMkLst>
          <pc:docMk/>
          <pc:sldMk cId="3338559212" sldId="355"/>
        </pc:sldMkLst>
      </pc:sldChg>
      <pc:sldChg chg="addSp delSp modSp add mod">
        <pc:chgData name="Ischanka, Eugen" userId="e4e12248-2210-4459-89e3-acb2dd10c338" providerId="ADAL" clId="{50398678-1125-4921-BC2E-56DEFA904AD2}" dt="2023-11-20T16:44:03.079" v="25636" actId="692"/>
        <pc:sldMkLst>
          <pc:docMk/>
          <pc:sldMk cId="2438554093" sldId="356"/>
        </pc:sldMkLst>
        <pc:spChg chg="mod">
          <ac:chgData name="Ischanka, Eugen" userId="e4e12248-2210-4459-89e3-acb2dd10c338" providerId="ADAL" clId="{50398678-1125-4921-BC2E-56DEFA904AD2}" dt="2023-11-19T16:54:07.583" v="16014" actId="20577"/>
          <ac:spMkLst>
            <pc:docMk/>
            <pc:sldMk cId="2438554093" sldId="356"/>
            <ac:spMk id="3" creationId="{A8229CC4-DA39-03D3-9A54-5BF7CC3A662C}"/>
          </ac:spMkLst>
        </pc:spChg>
        <pc:spChg chg="add mod">
          <ac:chgData name="Ischanka, Eugen" userId="e4e12248-2210-4459-89e3-acb2dd10c338" providerId="ADAL" clId="{50398678-1125-4921-BC2E-56DEFA904AD2}" dt="2023-11-18T15:20:33.959" v="14054"/>
          <ac:spMkLst>
            <pc:docMk/>
            <pc:sldMk cId="2438554093" sldId="356"/>
            <ac:spMk id="5" creationId="{5E97B16E-1F80-AAD3-4F58-6F63DACF55E3}"/>
          </ac:spMkLst>
        </pc:spChg>
        <pc:spChg chg="add del mod">
          <ac:chgData name="Ischanka, Eugen" userId="e4e12248-2210-4459-89e3-acb2dd10c338" providerId="ADAL" clId="{50398678-1125-4921-BC2E-56DEFA904AD2}" dt="2023-11-17T12:40:33.675" v="10142" actId="478"/>
          <ac:spMkLst>
            <pc:docMk/>
            <pc:sldMk cId="2438554093" sldId="356"/>
            <ac:spMk id="5" creationId="{71B63A7C-1C05-B43C-EB79-ABA948B7AAD1}"/>
          </ac:spMkLst>
        </pc:spChg>
        <pc:spChg chg="add mod">
          <ac:chgData name="Ischanka, Eugen" userId="e4e12248-2210-4459-89e3-acb2dd10c338" providerId="ADAL" clId="{50398678-1125-4921-BC2E-56DEFA904AD2}" dt="2023-11-19T20:06:14.119" v="18994" actId="20577"/>
          <ac:spMkLst>
            <pc:docMk/>
            <pc:sldMk cId="2438554093" sldId="356"/>
            <ac:spMk id="7" creationId="{B94B8758-99C7-1F5E-38F0-E2A7F70098A3}"/>
          </ac:spMkLst>
        </pc:spChg>
        <pc:spChg chg="add del">
          <ac:chgData name="Ischanka, Eugen" userId="e4e12248-2210-4459-89e3-acb2dd10c338" providerId="ADAL" clId="{50398678-1125-4921-BC2E-56DEFA904AD2}" dt="2023-11-17T12:59:25.700" v="10536" actId="478"/>
          <ac:spMkLst>
            <pc:docMk/>
            <pc:sldMk cId="2438554093" sldId="356"/>
            <ac:spMk id="7" creationId="{ED9EDA1F-30B4-4749-0B14-DBC2DF5FB382}"/>
          </ac:spMkLst>
        </pc:spChg>
        <pc:spChg chg="add del mod">
          <ac:chgData name="Ischanka, Eugen" userId="e4e12248-2210-4459-89e3-acb2dd10c338" providerId="ADAL" clId="{50398678-1125-4921-BC2E-56DEFA904AD2}" dt="2023-11-18T15:20:26.956" v="14052" actId="478"/>
          <ac:spMkLst>
            <pc:docMk/>
            <pc:sldMk cId="2438554093" sldId="356"/>
            <ac:spMk id="13" creationId="{FD80AB61-14D8-0DBE-6F04-8DEB26430C2C}"/>
          </ac:spMkLst>
        </pc:spChg>
        <pc:spChg chg="add del mod">
          <ac:chgData name="Ischanka, Eugen" userId="e4e12248-2210-4459-89e3-acb2dd10c338" providerId="ADAL" clId="{50398678-1125-4921-BC2E-56DEFA904AD2}" dt="2023-11-17T13:02:08.371" v="10591" actId="478"/>
          <ac:spMkLst>
            <pc:docMk/>
            <pc:sldMk cId="2438554093" sldId="356"/>
            <ac:spMk id="14" creationId="{70B06B2D-B8B9-0482-68FB-F9A2E92E1F2C}"/>
          </ac:spMkLst>
        </pc:spChg>
        <pc:graphicFrameChg chg="add mod modGraphic">
          <ac:chgData name="Ischanka, Eugen" userId="e4e12248-2210-4459-89e3-acb2dd10c338" providerId="ADAL" clId="{50398678-1125-4921-BC2E-56DEFA904AD2}" dt="2023-11-19T20:06:26.264" v="18995" actId="1076"/>
          <ac:graphicFrameMkLst>
            <pc:docMk/>
            <pc:sldMk cId="2438554093" sldId="356"/>
            <ac:graphicFrameMk id="6" creationId="{022908EB-65A2-FC3B-99B7-7C9C22B2BAEC}"/>
          </ac:graphicFrameMkLst>
        </pc:graphicFrameChg>
        <pc:graphicFrameChg chg="del">
          <ac:chgData name="Ischanka, Eugen" userId="e4e12248-2210-4459-89e3-acb2dd10c338" providerId="ADAL" clId="{50398678-1125-4921-BC2E-56DEFA904AD2}" dt="2023-11-17T12:40:28.562" v="10141" actId="478"/>
          <ac:graphicFrameMkLst>
            <pc:docMk/>
            <pc:sldMk cId="2438554093" sldId="356"/>
            <ac:graphicFrameMk id="8" creationId="{F06B6FBF-15B2-1687-4FE2-3990CDA5F7F8}"/>
          </ac:graphicFrameMkLst>
        </pc:graphicFrameChg>
        <pc:graphicFrameChg chg="mod">
          <ac:chgData name="Ischanka, Eugen" userId="e4e12248-2210-4459-89e3-acb2dd10c338" providerId="ADAL" clId="{50398678-1125-4921-BC2E-56DEFA904AD2}" dt="2023-11-20T16:44:03.079" v="25636" actId="692"/>
          <ac:graphicFrameMkLst>
            <pc:docMk/>
            <pc:sldMk cId="2438554093" sldId="356"/>
            <ac:graphicFrameMk id="10" creationId="{AE1B7FE1-9C0E-44B0-B6C8-458B4B8514BF}"/>
          </ac:graphicFrameMkLst>
        </pc:graphicFrameChg>
        <pc:cxnChg chg="add mod">
          <ac:chgData name="Ischanka, Eugen" userId="e4e12248-2210-4459-89e3-acb2dd10c338" providerId="ADAL" clId="{50398678-1125-4921-BC2E-56DEFA904AD2}" dt="2023-11-18T15:20:33.959" v="14054"/>
          <ac:cxnSpMkLst>
            <pc:docMk/>
            <pc:sldMk cId="2438554093" sldId="356"/>
            <ac:cxnSpMk id="2" creationId="{D35DCC38-62BE-55A6-8A2E-799C5CA77A4C}"/>
          </ac:cxnSpMkLst>
        </pc:cxnChg>
        <pc:cxnChg chg="add del mod">
          <ac:chgData name="Ischanka, Eugen" userId="e4e12248-2210-4459-89e3-acb2dd10c338" providerId="ADAL" clId="{50398678-1125-4921-BC2E-56DEFA904AD2}" dt="2023-11-18T15:20:27.767" v="14053" actId="478"/>
          <ac:cxnSpMkLst>
            <pc:docMk/>
            <pc:sldMk cId="2438554093" sldId="356"/>
            <ac:cxnSpMk id="11" creationId="{46303EFD-026A-7301-94BA-84968A6C2C3B}"/>
          </ac:cxnSpMkLst>
        </pc:cxnChg>
        <pc:cxnChg chg="add del">
          <ac:chgData name="Ischanka, Eugen" userId="e4e12248-2210-4459-89e3-acb2dd10c338" providerId="ADAL" clId="{50398678-1125-4921-BC2E-56DEFA904AD2}" dt="2023-11-17T13:02:06.994" v="10590" actId="478"/>
          <ac:cxnSpMkLst>
            <pc:docMk/>
            <pc:sldMk cId="2438554093" sldId="356"/>
            <ac:cxnSpMk id="16" creationId="{5E967849-F05A-36D1-610B-B45BDD085996}"/>
          </ac:cxnSpMkLst>
        </pc:cxnChg>
      </pc:sldChg>
      <pc:sldChg chg="addSp delSp modSp new mod">
        <pc:chgData name="Ischanka, Eugen" userId="e4e12248-2210-4459-89e3-acb2dd10c338" providerId="ADAL" clId="{50398678-1125-4921-BC2E-56DEFA904AD2}" dt="2023-11-20T16:45:47.418" v="25662" actId="1036"/>
        <pc:sldMkLst>
          <pc:docMk/>
          <pc:sldMk cId="1757976955" sldId="357"/>
        </pc:sldMkLst>
        <pc:spChg chg="del">
          <ac:chgData name="Ischanka, Eugen" userId="e4e12248-2210-4459-89e3-acb2dd10c338" providerId="ADAL" clId="{50398678-1125-4921-BC2E-56DEFA904AD2}" dt="2023-11-17T13:51:10.536" v="11184"/>
          <ac:spMkLst>
            <pc:docMk/>
            <pc:sldMk cId="1757976955" sldId="357"/>
            <ac:spMk id="2" creationId="{7F868B02-4BE8-103B-CA68-4D0D90C24111}"/>
          </ac:spMkLst>
        </pc:spChg>
        <pc:spChg chg="add mod">
          <ac:chgData name="Ischanka, Eugen" userId="e4e12248-2210-4459-89e3-acb2dd10c338" providerId="ADAL" clId="{50398678-1125-4921-BC2E-56DEFA904AD2}" dt="2023-11-18T15:34:50.939" v="14873" actId="14100"/>
          <ac:spMkLst>
            <pc:docMk/>
            <pc:sldMk cId="1757976955" sldId="357"/>
            <ac:spMk id="2" creationId="{F91FC648-018F-1626-8367-3F36C0592F1E}"/>
          </ac:spMkLst>
        </pc:spChg>
        <pc:spChg chg="mod">
          <ac:chgData name="Ischanka, Eugen" userId="e4e12248-2210-4459-89e3-acb2dd10c338" providerId="ADAL" clId="{50398678-1125-4921-BC2E-56DEFA904AD2}" dt="2023-11-19T16:54:13.318" v="16016" actId="20577"/>
          <ac:spMkLst>
            <pc:docMk/>
            <pc:sldMk cId="1757976955" sldId="357"/>
            <ac:spMk id="3" creationId="{440E52C3-BB3A-1DE5-CEA9-2490B0C7DA79}"/>
          </ac:spMkLst>
        </pc:spChg>
        <pc:spChg chg="mod">
          <ac:chgData name="Ischanka, Eugen" userId="e4e12248-2210-4459-89e3-acb2dd10c338" providerId="ADAL" clId="{50398678-1125-4921-BC2E-56DEFA904AD2}" dt="2023-11-17T13:45:26.748" v="11171"/>
          <ac:spMkLst>
            <pc:docMk/>
            <pc:sldMk cId="1757976955" sldId="357"/>
            <ac:spMk id="4" creationId="{006F0BFF-51C7-C9C1-4D51-3170E3347643}"/>
          </ac:spMkLst>
        </pc:spChg>
        <pc:spChg chg="add mod">
          <ac:chgData name="Ischanka, Eugen" userId="e4e12248-2210-4459-89e3-acb2dd10c338" providerId="ADAL" clId="{50398678-1125-4921-BC2E-56DEFA904AD2}" dt="2023-11-18T15:20:08.486" v="14050" actId="207"/>
          <ac:spMkLst>
            <pc:docMk/>
            <pc:sldMk cId="1757976955" sldId="357"/>
            <ac:spMk id="7" creationId="{65F57714-4C5D-0003-F242-7361E73B0E30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8" creationId="{7927E4E9-3ADF-C3E9-18AB-2DCE66411044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9" creationId="{62912DAB-9F5F-8DEC-2B77-696CBDF9E0B3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10" creationId="{AF1D651A-4EA8-E9AD-0E07-0B113FAEF51A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11" creationId="{60C1EBB0-F95E-1D1D-B8D6-EFB18683E2EB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12" creationId="{1BDAD65D-364B-D7A7-BD9A-F80A52CBCED3}"/>
          </ac:spMkLst>
        </pc:spChg>
        <pc:graphicFrameChg chg="add mod">
          <ac:chgData name="Ischanka, Eugen" userId="e4e12248-2210-4459-89e3-acb2dd10c338" providerId="ADAL" clId="{50398678-1125-4921-BC2E-56DEFA904AD2}" dt="2023-11-20T16:45:34.508" v="25657" actId="255"/>
          <ac:graphicFrameMkLst>
            <pc:docMk/>
            <pc:sldMk cId="1757976955" sldId="357"/>
            <ac:graphicFrameMk id="5" creationId="{6893F7F2-C28A-408D-8421-0653A1C5012D}"/>
          </ac:graphicFrameMkLst>
        </pc:graphicFrameChg>
        <pc:cxnChg chg="add mod">
          <ac:chgData name="Ischanka, Eugen" userId="e4e12248-2210-4459-89e3-acb2dd10c338" providerId="ADAL" clId="{50398678-1125-4921-BC2E-56DEFA904AD2}" dt="2023-11-18T15:20:12.377" v="14051" actId="208"/>
          <ac:cxnSpMkLst>
            <pc:docMk/>
            <pc:sldMk cId="1757976955" sldId="357"/>
            <ac:cxnSpMk id="6" creationId="{B367F05E-4C26-B0A4-BA7D-8D1B9F6AE4EC}"/>
          </ac:cxnSpMkLst>
        </pc:cxnChg>
      </pc:sldChg>
      <pc:sldChg chg="new del">
        <pc:chgData name="Ischanka, Eugen" userId="e4e12248-2210-4459-89e3-acb2dd10c338" providerId="ADAL" clId="{50398678-1125-4921-BC2E-56DEFA904AD2}" dt="2023-11-17T13:45:06.291" v="11170" actId="47"/>
        <pc:sldMkLst>
          <pc:docMk/>
          <pc:sldMk cId="449114454" sldId="358"/>
        </pc:sldMkLst>
      </pc:sldChg>
      <pc:sldChg chg="addSp delSp modSp new mod">
        <pc:chgData name="Ischanka, Eugen" userId="e4e12248-2210-4459-89e3-acb2dd10c338" providerId="ADAL" clId="{50398678-1125-4921-BC2E-56DEFA904AD2}" dt="2023-11-20T16:55:25.960" v="25741" actId="20577"/>
        <pc:sldMkLst>
          <pc:docMk/>
          <pc:sldMk cId="2275226650" sldId="358"/>
        </pc:sldMkLst>
        <pc:spChg chg="add del mod">
          <ac:chgData name="Ischanka, Eugen" userId="e4e12248-2210-4459-89e3-acb2dd10c338" providerId="ADAL" clId="{50398678-1125-4921-BC2E-56DEFA904AD2}" dt="2023-11-20T16:47:10.937" v="25697" actId="478"/>
          <ac:spMkLst>
            <pc:docMk/>
            <pc:sldMk cId="2275226650" sldId="358"/>
            <ac:spMk id="2" creationId="{2D938DFF-544B-9001-ED15-E4E7E4DE815E}"/>
          </ac:spMkLst>
        </pc:spChg>
        <pc:spChg chg="del">
          <ac:chgData name="Ischanka, Eugen" userId="e4e12248-2210-4459-89e3-acb2dd10c338" providerId="ADAL" clId="{50398678-1125-4921-BC2E-56DEFA904AD2}" dt="2023-11-17T14:03:00.667" v="11361"/>
          <ac:spMkLst>
            <pc:docMk/>
            <pc:sldMk cId="2275226650" sldId="358"/>
            <ac:spMk id="2" creationId="{441ED602-2B66-D1F7-85B0-7C3D531930C1}"/>
          </ac:spMkLst>
        </pc:spChg>
        <pc:spChg chg="mod">
          <ac:chgData name="Ischanka, Eugen" userId="e4e12248-2210-4459-89e3-acb2dd10c338" providerId="ADAL" clId="{50398678-1125-4921-BC2E-56DEFA904AD2}" dt="2023-11-18T15:37:12.349" v="15019" actId="20577"/>
          <ac:spMkLst>
            <pc:docMk/>
            <pc:sldMk cId="2275226650" sldId="358"/>
            <ac:spMk id="3" creationId="{78390983-499F-4D08-BCEE-B585BFBEEC85}"/>
          </ac:spMkLst>
        </pc:spChg>
        <pc:spChg chg="mod">
          <ac:chgData name="Ischanka, Eugen" userId="e4e12248-2210-4459-89e3-acb2dd10c338" providerId="ADAL" clId="{50398678-1125-4921-BC2E-56DEFA904AD2}" dt="2023-11-17T13:58:24.543" v="11358"/>
          <ac:spMkLst>
            <pc:docMk/>
            <pc:sldMk cId="2275226650" sldId="358"/>
            <ac:spMk id="4" creationId="{49FCFD48-E6BC-45CA-2250-8C912E261F36}"/>
          </ac:spMkLst>
        </pc:spChg>
        <pc:spChg chg="add mod">
          <ac:chgData name="Ischanka, Eugen" userId="e4e12248-2210-4459-89e3-acb2dd10c338" providerId="ADAL" clId="{50398678-1125-4921-BC2E-56DEFA904AD2}" dt="2023-11-20T16:47:01.219" v="25696" actId="1076"/>
          <ac:spMkLst>
            <pc:docMk/>
            <pc:sldMk cId="2275226650" sldId="358"/>
            <ac:spMk id="5" creationId="{ABD9D6AE-7AEF-6EE9-1361-DD48DD9B6B5C}"/>
          </ac:spMkLst>
        </pc:spChg>
        <pc:spChg chg="add del mod">
          <ac:chgData name="Ischanka, Eugen" userId="e4e12248-2210-4459-89e3-acb2dd10c338" providerId="ADAL" clId="{50398678-1125-4921-BC2E-56DEFA904AD2}" dt="2023-11-20T16:51:56.223" v="25707"/>
          <ac:spMkLst>
            <pc:docMk/>
            <pc:sldMk cId="2275226650" sldId="358"/>
            <ac:spMk id="7" creationId="{6FA19B81-C64F-D4DA-F22A-B7B6EBD4F423}"/>
          </ac:spMkLst>
        </pc:spChg>
        <pc:spChg chg="add del mod">
          <ac:chgData name="Ischanka, Eugen" userId="e4e12248-2210-4459-89e3-acb2dd10c338" providerId="ADAL" clId="{50398678-1125-4921-BC2E-56DEFA904AD2}" dt="2023-11-17T14:08:58.543" v="11397"/>
          <ac:spMkLst>
            <pc:docMk/>
            <pc:sldMk cId="2275226650" sldId="358"/>
            <ac:spMk id="7" creationId="{B2B97751-D8D8-56CE-937F-5E090EB8CDE2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9" creationId="{11293FAF-BEB8-3404-F4C3-EF63BAA70AE9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0" creationId="{C5AED0A3-88D5-DD67-C69C-315ACEE09700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1" creationId="{470408F0-9046-1970-D579-6E3A385B5F5E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2" creationId="{BF613AD9-B138-68AB-A666-D1EA67AB317A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3" creationId="{5B003D8D-456F-37EE-6F71-67F025647352}"/>
          </ac:spMkLst>
        </pc:spChg>
        <pc:spChg chg="add del mod">
          <ac:chgData name="Ischanka, Eugen" userId="e4e12248-2210-4459-89e3-acb2dd10c338" providerId="ADAL" clId="{50398678-1125-4921-BC2E-56DEFA904AD2}" dt="2023-11-17T15:44:27.845" v="12197"/>
          <ac:spMkLst>
            <pc:docMk/>
            <pc:sldMk cId="2275226650" sldId="358"/>
            <ac:spMk id="15" creationId="{8079501C-891C-D210-5A05-DFBE07368BC9}"/>
          </ac:spMkLst>
        </pc:spChg>
        <pc:spChg chg="add del mod">
          <ac:chgData name="Ischanka, Eugen" userId="e4e12248-2210-4459-89e3-acb2dd10c338" providerId="ADAL" clId="{50398678-1125-4921-BC2E-56DEFA904AD2}" dt="2023-11-18T15:37:02.515" v="14993" actId="478"/>
          <ac:spMkLst>
            <pc:docMk/>
            <pc:sldMk cId="2275226650" sldId="358"/>
            <ac:spMk id="18" creationId="{380E8ABC-9916-543F-2B32-0180F91F3E59}"/>
          </ac:spMkLst>
        </pc:spChg>
        <pc:graphicFrameChg chg="add del mod">
          <ac:chgData name="Ischanka, Eugen" userId="e4e12248-2210-4459-89e3-acb2dd10c338" providerId="ADAL" clId="{50398678-1125-4921-BC2E-56DEFA904AD2}" dt="2023-11-17T14:08:52.945" v="11395" actId="478"/>
          <ac:graphicFrameMkLst>
            <pc:docMk/>
            <pc:sldMk cId="2275226650" sldId="358"/>
            <ac:graphicFrameMk id="5" creationId="{1FBCCA4C-11FA-CD0B-9C5B-BB950091291B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5:44:24.997" v="12195" actId="478"/>
          <ac:graphicFrameMkLst>
            <pc:docMk/>
            <pc:sldMk cId="2275226650" sldId="358"/>
            <ac:graphicFrameMk id="8" creationId="{1FBCCA4C-11FA-CD0B-9C5B-BB950091291B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55:25.960" v="25741" actId="20577"/>
          <ac:graphicFrameMkLst>
            <pc:docMk/>
            <pc:sldMk cId="2275226650" sldId="358"/>
            <ac:graphicFrameMk id="8" creationId="{E456E338-D3C3-3CC2-F712-450792C52A86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20T16:51:53.667" v="25705" actId="478"/>
          <ac:graphicFrameMkLst>
            <pc:docMk/>
            <pc:sldMk cId="2275226650" sldId="358"/>
            <ac:graphicFrameMk id="16" creationId="{E456E338-D3C3-3CC2-F712-450792C52A86}"/>
          </ac:graphicFrameMkLst>
        </pc:graphicFrameChg>
        <pc:graphicFrameChg chg="add mod ord modGraphic">
          <ac:chgData name="Ischanka, Eugen" userId="e4e12248-2210-4459-89e3-acb2dd10c338" providerId="ADAL" clId="{50398678-1125-4921-BC2E-56DEFA904AD2}" dt="2023-11-20T16:54:30.446" v="25737" actId="12385"/>
          <ac:graphicFrameMkLst>
            <pc:docMk/>
            <pc:sldMk cId="2275226650" sldId="358"/>
            <ac:graphicFrameMk id="17" creationId="{C594F7CA-195A-7D49-2183-583B2B0BC3BE}"/>
          </ac:graphicFrameMkLst>
        </pc:graphicFrameChg>
      </pc:sldChg>
      <pc:sldChg chg="addSp delSp modSp new del mod ord">
        <pc:chgData name="Ischanka, Eugen" userId="e4e12248-2210-4459-89e3-acb2dd10c338" providerId="ADAL" clId="{50398678-1125-4921-BC2E-56DEFA904AD2}" dt="2023-11-18T15:15:41.772" v="13878" actId="47"/>
        <pc:sldMkLst>
          <pc:docMk/>
          <pc:sldMk cId="2040128950" sldId="359"/>
        </pc:sldMkLst>
        <pc:spChg chg="del">
          <ac:chgData name="Ischanka, Eugen" userId="e4e12248-2210-4459-89e3-acb2dd10c338" providerId="ADAL" clId="{50398678-1125-4921-BC2E-56DEFA904AD2}" dt="2023-11-17T14:19:13.981" v="11465"/>
          <ac:spMkLst>
            <pc:docMk/>
            <pc:sldMk cId="2040128950" sldId="359"/>
            <ac:spMk id="2" creationId="{06954B87-7D6C-B0C8-0309-CF2BB656C8AC}"/>
          </ac:spMkLst>
        </pc:spChg>
        <pc:spChg chg="mod">
          <ac:chgData name="Ischanka, Eugen" userId="e4e12248-2210-4459-89e3-acb2dd10c338" providerId="ADAL" clId="{50398678-1125-4921-BC2E-56DEFA904AD2}" dt="2023-11-17T16:03:12.356" v="12444" actId="20577"/>
          <ac:spMkLst>
            <pc:docMk/>
            <pc:sldMk cId="2040128950" sldId="359"/>
            <ac:spMk id="3" creationId="{D6D5E022-7C02-A47E-C35A-8179C0349F79}"/>
          </ac:spMkLst>
        </pc:spChg>
        <pc:spChg chg="mod">
          <ac:chgData name="Ischanka, Eugen" userId="e4e12248-2210-4459-89e3-acb2dd10c338" providerId="ADAL" clId="{50398678-1125-4921-BC2E-56DEFA904AD2}" dt="2023-11-17T14:19:26.132" v="11466"/>
          <ac:spMkLst>
            <pc:docMk/>
            <pc:sldMk cId="2040128950" sldId="359"/>
            <ac:spMk id="4" creationId="{46C3EC56-AC33-E95F-D349-40218D286561}"/>
          </ac:spMkLst>
        </pc:spChg>
        <pc:spChg chg="add mod">
          <ac:chgData name="Ischanka, Eugen" userId="e4e12248-2210-4459-89e3-acb2dd10c338" providerId="ADAL" clId="{50398678-1125-4921-BC2E-56DEFA904AD2}" dt="2023-11-17T14:23:32.403" v="11533" actId="1076"/>
          <ac:spMkLst>
            <pc:docMk/>
            <pc:sldMk cId="2040128950" sldId="359"/>
            <ac:spMk id="6" creationId="{F01BDDB0-E9B6-2C74-BC2F-B6D94A5FAEF4}"/>
          </ac:spMkLst>
        </pc:spChg>
        <pc:spChg chg="add mod">
          <ac:chgData name="Ischanka, Eugen" userId="e4e12248-2210-4459-89e3-acb2dd10c338" providerId="ADAL" clId="{50398678-1125-4921-BC2E-56DEFA904AD2}" dt="2023-11-17T14:23:37.299" v="11534"/>
          <ac:spMkLst>
            <pc:docMk/>
            <pc:sldMk cId="2040128950" sldId="359"/>
            <ac:spMk id="7" creationId="{C8C1A5F2-771D-EC96-50CF-B5BAEA99133F}"/>
          </ac:spMkLst>
        </pc:spChg>
        <pc:graphicFrameChg chg="add mod">
          <ac:chgData name="Ischanka, Eugen" userId="e4e12248-2210-4459-89e3-acb2dd10c338" providerId="ADAL" clId="{50398678-1125-4921-BC2E-56DEFA904AD2}" dt="2023-11-17T14:23:01.828" v="11531" actId="404"/>
          <ac:graphicFrameMkLst>
            <pc:docMk/>
            <pc:sldMk cId="2040128950" sldId="359"/>
            <ac:graphicFrameMk id="5" creationId="{9ABDE596-D523-E490-8A1D-AAB30F6E9127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4:26:24.434" v="11584" actId="478"/>
          <ac:graphicFrameMkLst>
            <pc:docMk/>
            <pc:sldMk cId="2040128950" sldId="359"/>
            <ac:graphicFrameMk id="8" creationId="{35CD2120-3B8D-A96B-9817-AF92CB286F23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6:18:51.533" v="12913"/>
          <ac:graphicFrameMkLst>
            <pc:docMk/>
            <pc:sldMk cId="2040128950" sldId="359"/>
            <ac:graphicFrameMk id="9" creationId="{35CD2120-3B8D-A96B-9817-AF92CB286F23}"/>
          </ac:graphicFrameMkLst>
        </pc:graphicFrameChg>
      </pc:sldChg>
      <pc:sldChg chg="addSp delSp modSp new mod ord setBg">
        <pc:chgData name="Ischanka, Eugen" userId="e4e12248-2210-4459-89e3-acb2dd10c338" providerId="ADAL" clId="{50398678-1125-4921-BC2E-56DEFA904AD2}" dt="2023-11-20T16:46:35.244" v="25665" actId="1076"/>
        <pc:sldMkLst>
          <pc:docMk/>
          <pc:sldMk cId="342935145" sldId="360"/>
        </pc:sldMkLst>
        <pc:spChg chg="del">
          <ac:chgData name="Ischanka, Eugen" userId="e4e12248-2210-4459-89e3-acb2dd10c338" providerId="ADAL" clId="{50398678-1125-4921-BC2E-56DEFA904AD2}" dt="2023-11-17T15:20:19.431" v="11699"/>
          <ac:spMkLst>
            <pc:docMk/>
            <pc:sldMk cId="342935145" sldId="360"/>
            <ac:spMk id="2" creationId="{49A84505-CCB7-3A52-D528-63C52F7E1531}"/>
          </ac:spMkLst>
        </pc:spChg>
        <pc:spChg chg="add mod">
          <ac:chgData name="Ischanka, Eugen" userId="e4e12248-2210-4459-89e3-acb2dd10c338" providerId="ADAL" clId="{50398678-1125-4921-BC2E-56DEFA904AD2}" dt="2023-11-18T15:31:35.887" v="14629" actId="1076"/>
          <ac:spMkLst>
            <pc:docMk/>
            <pc:sldMk cId="342935145" sldId="360"/>
            <ac:spMk id="2" creationId="{CAD8AA72-4066-8E15-BEEF-7798D4E6F7F0}"/>
          </ac:spMkLst>
        </pc:spChg>
        <pc:spChg chg="mod">
          <ac:chgData name="Ischanka, Eugen" userId="e4e12248-2210-4459-89e3-acb2dd10c338" providerId="ADAL" clId="{50398678-1125-4921-BC2E-56DEFA904AD2}" dt="2023-11-19T16:54:18.669" v="16018" actId="20577"/>
          <ac:spMkLst>
            <pc:docMk/>
            <pc:sldMk cId="342935145" sldId="360"/>
            <ac:spMk id="3" creationId="{DB226DE1-6D1C-11C9-B0E1-5B78D311A223}"/>
          </ac:spMkLst>
        </pc:spChg>
        <pc:spChg chg="mod">
          <ac:chgData name="Ischanka, Eugen" userId="e4e12248-2210-4459-89e3-acb2dd10c338" providerId="ADAL" clId="{50398678-1125-4921-BC2E-56DEFA904AD2}" dt="2023-11-17T15:07:45.373" v="11682"/>
          <ac:spMkLst>
            <pc:docMk/>
            <pc:sldMk cId="342935145" sldId="360"/>
            <ac:spMk id="4" creationId="{F6D93135-8BE9-255B-10E9-986B3C3AC996}"/>
          </ac:spMkLst>
        </pc:spChg>
        <pc:spChg chg="add mod">
          <ac:chgData name="Ischanka, Eugen" userId="e4e12248-2210-4459-89e3-acb2dd10c338" providerId="ADAL" clId="{50398678-1125-4921-BC2E-56DEFA904AD2}" dt="2023-11-20T16:46:35.244" v="25665" actId="1076"/>
          <ac:spMkLst>
            <pc:docMk/>
            <pc:sldMk cId="342935145" sldId="360"/>
            <ac:spMk id="8" creationId="{B79F23A7-2E4F-A116-15B7-CA4359E79FB9}"/>
          </ac:spMkLst>
        </pc:spChg>
        <pc:spChg chg="add mod">
          <ac:chgData name="Ischanka, Eugen" userId="e4e12248-2210-4459-89e3-acb2dd10c338" providerId="ADAL" clId="{50398678-1125-4921-BC2E-56DEFA904AD2}" dt="2023-11-18T15:30:52.799" v="14555" actId="1076"/>
          <ac:spMkLst>
            <pc:docMk/>
            <pc:sldMk cId="342935145" sldId="360"/>
            <ac:spMk id="9" creationId="{488B7270-E83A-3C8F-BB5C-2D3CB005E392}"/>
          </ac:spMkLst>
        </pc:spChg>
        <pc:graphicFrameChg chg="add mod">
          <ac:chgData name="Ischanka, Eugen" userId="e4e12248-2210-4459-89e3-acb2dd10c338" providerId="ADAL" clId="{50398678-1125-4921-BC2E-56DEFA904AD2}" dt="2023-11-20T16:46:18.287" v="25664" actId="255"/>
          <ac:graphicFrameMkLst>
            <pc:docMk/>
            <pc:sldMk cId="342935145" sldId="360"/>
            <ac:graphicFrameMk id="5" creationId="{5935235A-F4A3-6DC4-8C20-1D83BE689E5D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5:34:55.765" v="11747" actId="478"/>
          <ac:graphicFrameMkLst>
            <pc:docMk/>
            <pc:sldMk cId="342935145" sldId="360"/>
            <ac:graphicFrameMk id="6" creationId="{7E2BB3B3-4D28-C1B4-F95A-4B2CAA7BD8D2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8T15:20:55.329" v="14055" actId="207"/>
          <ac:graphicFrameMkLst>
            <pc:docMk/>
            <pc:sldMk cId="342935145" sldId="360"/>
            <ac:graphicFrameMk id="7" creationId="{47CC3E69-F99B-5531-0435-D8EF09CD71A1}"/>
          </ac:graphicFrameMkLst>
        </pc:graphicFrameChg>
        <pc:cxnChg chg="add mod">
          <ac:chgData name="Ischanka, Eugen" userId="e4e12248-2210-4459-89e3-acb2dd10c338" providerId="ADAL" clId="{50398678-1125-4921-BC2E-56DEFA904AD2}" dt="2023-11-18T15:30:52.799" v="14555" actId="1076"/>
          <ac:cxnSpMkLst>
            <pc:docMk/>
            <pc:sldMk cId="342935145" sldId="360"/>
            <ac:cxnSpMk id="6" creationId="{1A1C6B85-1B6B-3357-7096-D32A32191E46}"/>
          </ac:cxnSpMkLst>
        </pc:cxnChg>
      </pc:sldChg>
      <pc:sldChg chg="modSp new del mod ord">
        <pc:chgData name="Ischanka, Eugen" userId="e4e12248-2210-4459-89e3-acb2dd10c338" providerId="ADAL" clId="{50398678-1125-4921-BC2E-56DEFA904AD2}" dt="2023-11-17T16:10:36.942" v="12783" actId="47"/>
        <pc:sldMkLst>
          <pc:docMk/>
          <pc:sldMk cId="4215603597" sldId="361"/>
        </pc:sldMkLst>
        <pc:spChg chg="mod">
          <ac:chgData name="Ischanka, Eugen" userId="e4e12248-2210-4459-89e3-acb2dd10c338" providerId="ADAL" clId="{50398678-1125-4921-BC2E-56DEFA904AD2}" dt="2023-11-17T16:10:33.549" v="12782" actId="20577"/>
          <ac:spMkLst>
            <pc:docMk/>
            <pc:sldMk cId="4215603597" sldId="361"/>
            <ac:spMk id="3" creationId="{591A3454-18D9-AA10-1E65-0B4F593A8EBD}"/>
          </ac:spMkLst>
        </pc:spChg>
        <pc:spChg chg="mod">
          <ac:chgData name="Ischanka, Eugen" userId="e4e12248-2210-4459-89e3-acb2dd10c338" providerId="ADAL" clId="{50398678-1125-4921-BC2E-56DEFA904AD2}" dt="2023-11-17T16:02:17.989" v="12408"/>
          <ac:spMkLst>
            <pc:docMk/>
            <pc:sldMk cId="4215603597" sldId="361"/>
            <ac:spMk id="4" creationId="{2D55710B-5E78-1957-86C7-C8EB3165A57D}"/>
          </ac:spMkLst>
        </pc:spChg>
      </pc:sldChg>
      <pc:sldChg chg="addSp delSp modSp add del mod ord">
        <pc:chgData name="Ischanka, Eugen" userId="e4e12248-2210-4459-89e3-acb2dd10c338" providerId="ADAL" clId="{50398678-1125-4921-BC2E-56DEFA904AD2}" dt="2023-11-19T18:44:55.077" v="18684" actId="2696"/>
        <pc:sldMkLst>
          <pc:docMk/>
          <pc:sldMk cId="2271364283" sldId="362"/>
        </pc:sldMkLst>
        <pc:spChg chg="del">
          <ac:chgData name="Ischanka, Eugen" userId="e4e12248-2210-4459-89e3-acb2dd10c338" providerId="ADAL" clId="{50398678-1125-4921-BC2E-56DEFA904AD2}" dt="2023-11-17T15:53:53.873" v="12388" actId="478"/>
          <ac:spMkLst>
            <pc:docMk/>
            <pc:sldMk cId="2271364283" sldId="362"/>
            <ac:spMk id="3" creationId="{1149B1E0-C193-03E4-764D-055ACA414A87}"/>
          </ac:spMkLst>
        </pc:spChg>
        <pc:spChg chg="add del mod">
          <ac:chgData name="Ischanka, Eugen" userId="e4e12248-2210-4459-89e3-acb2dd10c338" providerId="ADAL" clId="{50398678-1125-4921-BC2E-56DEFA904AD2}" dt="2023-11-18T14:27:18.203" v="13332"/>
          <ac:spMkLst>
            <pc:docMk/>
            <pc:sldMk cId="2271364283" sldId="362"/>
            <ac:spMk id="3" creationId="{FC93BF92-5942-1F42-185F-0C3FD20C6E6C}"/>
          </ac:spMkLst>
        </pc:spChg>
        <pc:graphicFrameChg chg="add mod">
          <ac:chgData name="Ischanka, Eugen" userId="e4e12248-2210-4459-89e3-acb2dd10c338" providerId="ADAL" clId="{50398678-1125-4921-BC2E-56DEFA904AD2}" dt="2023-11-19T18:44:43.777" v="18683" actId="20577"/>
          <ac:graphicFrameMkLst>
            <pc:docMk/>
            <pc:sldMk cId="2271364283" sldId="362"/>
            <ac:graphicFrameMk id="5" creationId="{F1C28F30-D460-56AF-6095-BE03CD4AECD5}"/>
          </ac:graphicFrameMkLst>
        </pc:graphicFrameChg>
        <pc:graphicFrameChg chg="del mod modGraphic">
          <ac:chgData name="Ischanka, Eugen" userId="e4e12248-2210-4459-89e3-acb2dd10c338" providerId="ADAL" clId="{50398678-1125-4921-BC2E-56DEFA904AD2}" dt="2023-11-18T14:27:15.683" v="13331" actId="478"/>
          <ac:graphicFrameMkLst>
            <pc:docMk/>
            <pc:sldMk cId="2271364283" sldId="362"/>
            <ac:graphicFrameMk id="7" creationId="{1AA67A88-41CB-C225-2B4B-6DB88E770884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1:57.617" v="25036" actId="20577"/>
        <pc:sldMkLst>
          <pc:docMk/>
          <pc:sldMk cId="3690981345" sldId="362"/>
        </pc:sldMkLst>
        <pc:spChg chg="mod">
          <ac:chgData name="Ischanka, Eugen" userId="e4e12248-2210-4459-89e3-acb2dd10c338" providerId="ADAL" clId="{50398678-1125-4921-BC2E-56DEFA904AD2}" dt="2023-11-19T19:50:01.954" v="18778" actId="20577"/>
          <ac:spMkLst>
            <pc:docMk/>
            <pc:sldMk cId="3690981345" sldId="362"/>
            <ac:spMk id="4" creationId="{BB5AB37A-0A33-A0A1-2E99-86B10CBD093A}"/>
          </ac:spMkLst>
        </pc:spChg>
        <pc:graphicFrameChg chg="mod">
          <ac:chgData name="Ischanka, Eugen" userId="e4e12248-2210-4459-89e3-acb2dd10c338" providerId="ADAL" clId="{50398678-1125-4921-BC2E-56DEFA904AD2}" dt="2023-11-20T16:01:57.617" v="25036" actId="20577"/>
          <ac:graphicFrameMkLst>
            <pc:docMk/>
            <pc:sldMk cId="3690981345" sldId="362"/>
            <ac:graphicFrameMk id="5" creationId="{F1C28F30-D460-56AF-6095-BE03CD4AECD5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8T15:38:46.240" v="15048" actId="47"/>
        <pc:sldMkLst>
          <pc:docMk/>
          <pc:sldMk cId="117892565" sldId="363"/>
        </pc:sldMkLst>
      </pc:sldChg>
      <pc:sldChg chg="modSp add del mod">
        <pc:chgData name="Ischanka, Eugen" userId="e4e12248-2210-4459-89e3-acb2dd10c338" providerId="ADAL" clId="{50398678-1125-4921-BC2E-56DEFA904AD2}" dt="2023-11-19T18:45:03.198" v="18686" actId="47"/>
        <pc:sldMkLst>
          <pc:docMk/>
          <pc:sldMk cId="206409719" sldId="364"/>
        </pc:sldMkLst>
        <pc:graphicFrameChg chg="mod modGraphic">
          <ac:chgData name="Ischanka, Eugen" userId="e4e12248-2210-4459-89e3-acb2dd10c338" providerId="ADAL" clId="{50398678-1125-4921-BC2E-56DEFA904AD2}" dt="2023-11-18T14:31:13.282" v="13377"/>
          <ac:graphicFrameMkLst>
            <pc:docMk/>
            <pc:sldMk cId="206409719" sldId="364"/>
            <ac:graphicFrameMk id="5" creationId="{F1C28F30-D460-56AF-6095-BE03CD4AECD5}"/>
          </ac:graphicFrameMkLst>
        </pc:graphicFrameChg>
      </pc:sldChg>
      <pc:sldChg chg="addSp delSp modSp new del mod ord">
        <pc:chgData name="Ischanka, Eugen" userId="e4e12248-2210-4459-89e3-acb2dd10c338" providerId="ADAL" clId="{50398678-1125-4921-BC2E-56DEFA904AD2}" dt="2023-11-18T13:51:40.361" v="13092" actId="47"/>
        <pc:sldMkLst>
          <pc:docMk/>
          <pc:sldMk cId="2524929824" sldId="364"/>
        </pc:sldMkLst>
        <pc:spChg chg="del">
          <ac:chgData name="Ischanka, Eugen" userId="e4e12248-2210-4459-89e3-acb2dd10c338" providerId="ADAL" clId="{50398678-1125-4921-BC2E-56DEFA904AD2}" dt="2023-11-18T13:44:04.750" v="12940" actId="1032"/>
          <ac:spMkLst>
            <pc:docMk/>
            <pc:sldMk cId="2524929824" sldId="364"/>
            <ac:spMk id="2" creationId="{0D1F4286-7BAF-6AEC-683A-6092F2CE3F9D}"/>
          </ac:spMkLst>
        </pc:spChg>
        <pc:spChg chg="mod">
          <ac:chgData name="Ischanka, Eugen" userId="e4e12248-2210-4459-89e3-acb2dd10c338" providerId="ADAL" clId="{50398678-1125-4921-BC2E-56DEFA904AD2}" dt="2023-11-18T13:44:12.059" v="12941"/>
          <ac:spMkLst>
            <pc:docMk/>
            <pc:sldMk cId="2524929824" sldId="364"/>
            <ac:spMk id="3" creationId="{6EF7DF69-2866-9AE7-8850-A98CF3AD38F3}"/>
          </ac:spMkLst>
        </pc:spChg>
        <pc:spChg chg="mod">
          <ac:chgData name="Ischanka, Eugen" userId="e4e12248-2210-4459-89e3-acb2dd10c338" providerId="ADAL" clId="{50398678-1125-4921-BC2E-56DEFA904AD2}" dt="2023-11-18T13:44:18.791" v="12942"/>
          <ac:spMkLst>
            <pc:docMk/>
            <pc:sldMk cId="2524929824" sldId="364"/>
            <ac:spMk id="4" creationId="{C1DB2399-C6BA-71E0-89FC-7F9BF68053EC}"/>
          </ac:spMkLst>
        </pc:spChg>
        <pc:graphicFrameChg chg="add mod modGraphic">
          <ac:chgData name="Ischanka, Eugen" userId="e4e12248-2210-4459-89e3-acb2dd10c338" providerId="ADAL" clId="{50398678-1125-4921-BC2E-56DEFA904AD2}" dt="2023-11-18T13:50:03.588" v="13074" actId="207"/>
          <ac:graphicFrameMkLst>
            <pc:docMk/>
            <pc:sldMk cId="2524929824" sldId="364"/>
            <ac:graphicFrameMk id="5" creationId="{97AEB977-F483-5AF1-085D-A9F84598AAC1}"/>
          </ac:graphicFrameMkLst>
        </pc:graphicFrameChg>
      </pc:sldChg>
      <pc:sldChg chg="addSp delSp modSp new del mod">
        <pc:chgData name="Ischanka, Eugen" userId="e4e12248-2210-4459-89e3-acb2dd10c338" providerId="ADAL" clId="{50398678-1125-4921-BC2E-56DEFA904AD2}" dt="2023-11-18T14:02:26.197" v="13310" actId="47"/>
        <pc:sldMkLst>
          <pc:docMk/>
          <pc:sldMk cId="4227029930" sldId="364"/>
        </pc:sldMkLst>
        <pc:spChg chg="del">
          <ac:chgData name="Ischanka, Eugen" userId="e4e12248-2210-4459-89e3-acb2dd10c338" providerId="ADAL" clId="{50398678-1125-4921-BC2E-56DEFA904AD2}" dt="2023-11-18T13:54:01.783" v="13100" actId="1032"/>
          <ac:spMkLst>
            <pc:docMk/>
            <pc:sldMk cId="4227029930" sldId="364"/>
            <ac:spMk id="2" creationId="{7FC96D61-559A-114D-4F00-289B52C9C006}"/>
          </ac:spMkLst>
        </pc:spChg>
        <pc:graphicFrameChg chg="add mod modGraphic">
          <ac:chgData name="Ischanka, Eugen" userId="e4e12248-2210-4459-89e3-acb2dd10c338" providerId="ADAL" clId="{50398678-1125-4921-BC2E-56DEFA904AD2}" dt="2023-11-18T14:02:01.648" v="13309"/>
          <ac:graphicFrameMkLst>
            <pc:docMk/>
            <pc:sldMk cId="4227029930" sldId="364"/>
            <ac:graphicFrameMk id="5" creationId="{8DD94641-DFAE-BAD1-D277-A91F883C56BD}"/>
          </ac:graphicFrameMkLst>
        </pc:graphicFrameChg>
      </pc:sldChg>
      <pc:sldChg chg="modSp add del">
        <pc:chgData name="Ischanka, Eugen" userId="e4e12248-2210-4459-89e3-acb2dd10c338" providerId="ADAL" clId="{50398678-1125-4921-BC2E-56DEFA904AD2}" dt="2023-11-18T13:52:52.110" v="13098" actId="47"/>
        <pc:sldMkLst>
          <pc:docMk/>
          <pc:sldMk cId="1696778684" sldId="365"/>
        </pc:sldMkLst>
        <pc:graphicFrameChg chg="mod">
          <ac:chgData name="Ischanka, Eugen" userId="e4e12248-2210-4459-89e3-acb2dd10c338" providerId="ADAL" clId="{50398678-1125-4921-BC2E-56DEFA904AD2}" dt="2023-11-18T13:51:59.261" v="13097" actId="20577"/>
          <ac:graphicFrameMkLst>
            <pc:docMk/>
            <pc:sldMk cId="1696778684" sldId="365"/>
            <ac:graphicFrameMk id="5" creationId="{97AEB977-F483-5AF1-085D-A9F84598AAC1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47:06.556" v="18694" actId="47"/>
        <pc:sldMkLst>
          <pc:docMk/>
          <pc:sldMk cId="1827671527" sldId="365"/>
        </pc:sldMkLst>
      </pc:sldChg>
      <pc:sldChg chg="addSp delSp modSp add del mod">
        <pc:chgData name="Ischanka, Eugen" userId="e4e12248-2210-4459-89e3-acb2dd10c338" providerId="ADAL" clId="{50398678-1125-4921-BC2E-56DEFA904AD2}" dt="2023-11-18T14:28:02.153" v="13337" actId="47"/>
        <pc:sldMkLst>
          <pc:docMk/>
          <pc:sldMk cId="2288585584" sldId="365"/>
        </pc:sldMkLst>
        <pc:spChg chg="add mod">
          <ac:chgData name="Ischanka, Eugen" userId="e4e12248-2210-4459-89e3-acb2dd10c338" providerId="ADAL" clId="{50398678-1125-4921-BC2E-56DEFA904AD2}" dt="2023-11-18T14:27:12.267" v="13330" actId="21"/>
          <ac:spMkLst>
            <pc:docMk/>
            <pc:sldMk cId="2288585584" sldId="365"/>
            <ac:spMk id="6" creationId="{8E1EC79C-27AE-83F3-9D0D-0638D396D3DD}"/>
          </ac:spMkLst>
        </pc:spChg>
        <pc:graphicFrameChg chg="del mod modGraphic">
          <ac:chgData name="Ischanka, Eugen" userId="e4e12248-2210-4459-89e3-acb2dd10c338" providerId="ADAL" clId="{50398678-1125-4921-BC2E-56DEFA904AD2}" dt="2023-11-18T14:27:12.267" v="13330" actId="21"/>
          <ac:graphicFrameMkLst>
            <pc:docMk/>
            <pc:sldMk cId="2288585584" sldId="365"/>
            <ac:graphicFrameMk id="5" creationId="{8DD94641-DFAE-BAD1-D277-A91F883C56BD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49:01.297" v="18705" actId="47"/>
        <pc:sldMkLst>
          <pc:docMk/>
          <pc:sldMk cId="1246398806" sldId="366"/>
        </pc:sldMkLst>
      </pc:sldChg>
      <pc:sldChg chg="add del">
        <pc:chgData name="Ischanka, Eugen" userId="e4e12248-2210-4459-89e3-acb2dd10c338" providerId="ADAL" clId="{50398678-1125-4921-BC2E-56DEFA904AD2}" dt="2023-11-18T14:28:00.579" v="13336" actId="47"/>
        <pc:sldMkLst>
          <pc:docMk/>
          <pc:sldMk cId="4105309705" sldId="366"/>
        </pc:sldMkLst>
      </pc:sldChg>
      <pc:sldChg chg="addSp delSp modSp new mod">
        <pc:chgData name="Ischanka, Eugen" userId="e4e12248-2210-4459-89e3-acb2dd10c338" providerId="ADAL" clId="{50398678-1125-4921-BC2E-56DEFA904AD2}" dt="2023-11-20T16:51:50.172" v="25699" actId="27918"/>
        <pc:sldMkLst>
          <pc:docMk/>
          <pc:sldMk cId="573670748" sldId="367"/>
        </pc:sldMkLst>
        <pc:spChg chg="del">
          <ac:chgData name="Ischanka, Eugen" userId="e4e12248-2210-4459-89e3-acb2dd10c338" providerId="ADAL" clId="{50398678-1125-4921-BC2E-56DEFA904AD2}" dt="2023-11-19T15:41:54.049" v="15304"/>
          <ac:spMkLst>
            <pc:docMk/>
            <pc:sldMk cId="573670748" sldId="367"/>
            <ac:spMk id="2" creationId="{4143816F-D39E-2C23-8EA3-7F4494C15C40}"/>
          </ac:spMkLst>
        </pc:spChg>
        <pc:spChg chg="mod">
          <ac:chgData name="Ischanka, Eugen" userId="e4e12248-2210-4459-89e3-acb2dd10c338" providerId="ADAL" clId="{50398678-1125-4921-BC2E-56DEFA904AD2}" dt="2023-11-19T16:05:34.283" v="15481"/>
          <ac:spMkLst>
            <pc:docMk/>
            <pc:sldMk cId="573670748" sldId="367"/>
            <ac:spMk id="3" creationId="{A747ACC6-74C7-5255-EBE2-DD4E55F1AF47}"/>
          </ac:spMkLst>
        </pc:spChg>
        <pc:spChg chg="mod">
          <ac:chgData name="Ischanka, Eugen" userId="e4e12248-2210-4459-89e3-acb2dd10c338" providerId="ADAL" clId="{50398678-1125-4921-BC2E-56DEFA904AD2}" dt="2023-11-19T15:43:41.512" v="15322"/>
          <ac:spMkLst>
            <pc:docMk/>
            <pc:sldMk cId="573670748" sldId="367"/>
            <ac:spMk id="4" creationId="{991F984F-AE59-8FBC-1F66-684637AC41CC}"/>
          </ac:spMkLst>
        </pc:spChg>
        <pc:spChg chg="add del mod">
          <ac:chgData name="Ischanka, Eugen" userId="e4e12248-2210-4459-89e3-acb2dd10c338" providerId="ADAL" clId="{50398678-1125-4921-BC2E-56DEFA904AD2}" dt="2023-11-19T16:07:53.042" v="15490" actId="21"/>
          <ac:spMkLst>
            <pc:docMk/>
            <pc:sldMk cId="573670748" sldId="367"/>
            <ac:spMk id="5" creationId="{48B41ACB-E93D-24CA-497B-610C872D9015}"/>
          </ac:spMkLst>
        </pc:spChg>
        <pc:spChg chg="add mod">
          <ac:chgData name="Ischanka, Eugen" userId="e4e12248-2210-4459-89e3-acb2dd10c338" providerId="ADAL" clId="{50398678-1125-4921-BC2E-56DEFA904AD2}" dt="2023-11-19T15:46:29.385" v="15392"/>
          <ac:spMkLst>
            <pc:docMk/>
            <pc:sldMk cId="573670748" sldId="367"/>
            <ac:spMk id="7" creationId="{74715331-E416-3BA2-A3CF-03AE6689A7C6}"/>
          </ac:spMkLst>
        </pc:spChg>
        <pc:spChg chg="add mod">
          <ac:chgData name="Ischanka, Eugen" userId="e4e12248-2210-4459-89e3-acb2dd10c338" providerId="ADAL" clId="{50398678-1125-4921-BC2E-56DEFA904AD2}" dt="2023-11-20T16:09:15.309" v="25085" actId="1076"/>
          <ac:spMkLst>
            <pc:docMk/>
            <pc:sldMk cId="573670748" sldId="367"/>
            <ac:spMk id="8" creationId="{408275CC-FEA8-0CD8-034D-7A02A67CA328}"/>
          </ac:spMkLst>
        </pc:spChg>
        <pc:spChg chg="add del mod">
          <ac:chgData name="Ischanka, Eugen" userId="e4e12248-2210-4459-89e3-acb2dd10c338" providerId="ADAL" clId="{50398678-1125-4921-BC2E-56DEFA904AD2}" dt="2023-11-20T16:08:57.326" v="25083"/>
          <ac:spMkLst>
            <pc:docMk/>
            <pc:sldMk cId="573670748" sldId="367"/>
            <ac:spMk id="9" creationId="{5DE0DA6A-2722-EDB6-BA3A-9386E4A0289E}"/>
          </ac:spMkLst>
        </pc:spChg>
        <pc:spChg chg="add del mod">
          <ac:chgData name="Ischanka, Eugen" userId="e4e12248-2210-4459-89e3-acb2dd10c338" providerId="ADAL" clId="{50398678-1125-4921-BC2E-56DEFA904AD2}" dt="2023-11-19T18:07:39.660" v="17803" actId="21"/>
          <ac:spMkLst>
            <pc:docMk/>
            <pc:sldMk cId="573670748" sldId="367"/>
            <ac:spMk id="9" creationId="{E16E07C6-2FF8-E43B-B30F-E448CCC7487D}"/>
          </ac:spMkLst>
        </pc:spChg>
        <pc:spChg chg="add del mod">
          <ac:chgData name="Ischanka, Eugen" userId="e4e12248-2210-4459-89e3-acb2dd10c338" providerId="ADAL" clId="{50398678-1125-4921-BC2E-56DEFA904AD2}" dt="2023-11-19T18:07:51.782" v="17806" actId="21"/>
          <ac:spMkLst>
            <pc:docMk/>
            <pc:sldMk cId="573670748" sldId="367"/>
            <ac:spMk id="10" creationId="{3B365B84-17B2-AAB1-3094-DCF617059642}"/>
          </ac:spMkLst>
        </pc:spChg>
        <pc:graphicFrameChg chg="add del mod">
          <ac:chgData name="Ischanka, Eugen" userId="e4e12248-2210-4459-89e3-acb2dd10c338" providerId="ADAL" clId="{50398678-1125-4921-BC2E-56DEFA904AD2}" dt="2023-11-20T16:08:54.387" v="25081" actId="21"/>
          <ac:graphicFrameMkLst>
            <pc:docMk/>
            <pc:sldMk cId="573670748" sldId="367"/>
            <ac:graphicFrameMk id="2" creationId="{BBE54F64-FFC1-4948-E1A5-53E5EB292D73}"/>
          </ac:graphicFrameMkLst>
        </pc:graphicFrameChg>
        <pc:graphicFrameChg chg="add del mod ord">
          <ac:chgData name="Ischanka, Eugen" userId="e4e12248-2210-4459-89e3-acb2dd10c338" providerId="ADAL" clId="{50398678-1125-4921-BC2E-56DEFA904AD2}" dt="2023-11-20T16:08:51.269" v="25080" actId="478"/>
          <ac:graphicFrameMkLst>
            <pc:docMk/>
            <pc:sldMk cId="573670748" sldId="367"/>
            <ac:graphicFrameMk id="6" creationId="{BBE54F64-FFC1-4948-E1A5-53E5EB292D73}"/>
          </ac:graphicFrameMkLst>
        </pc:graphicFrameChg>
        <pc:graphicFrameChg chg="add mod ord">
          <ac:chgData name="Ischanka, Eugen" userId="e4e12248-2210-4459-89e3-acb2dd10c338" providerId="ADAL" clId="{50398678-1125-4921-BC2E-56DEFA904AD2}" dt="2023-11-20T16:11:03.249" v="25126" actId="404"/>
          <ac:graphicFrameMkLst>
            <pc:docMk/>
            <pc:sldMk cId="573670748" sldId="367"/>
            <ac:graphicFrameMk id="10" creationId="{90B8C204-ADCC-68F1-EC0D-0EBCE27891CA}"/>
          </ac:graphicFrameMkLst>
        </pc:graphicFrameChg>
      </pc:sldChg>
      <pc:sldChg chg="addSp delSp modSp new del mod">
        <pc:chgData name="Ischanka, Eugen" userId="e4e12248-2210-4459-89e3-acb2dd10c338" providerId="ADAL" clId="{50398678-1125-4921-BC2E-56DEFA904AD2}" dt="2023-11-19T16:06:44.642" v="15487" actId="47"/>
        <pc:sldMkLst>
          <pc:docMk/>
          <pc:sldMk cId="143195583" sldId="368"/>
        </pc:sldMkLst>
        <pc:spChg chg="del">
          <ac:chgData name="Ischanka, Eugen" userId="e4e12248-2210-4459-89e3-acb2dd10c338" providerId="ADAL" clId="{50398678-1125-4921-BC2E-56DEFA904AD2}" dt="2023-11-18T15:57:14.286" v="15050"/>
          <ac:spMkLst>
            <pc:docMk/>
            <pc:sldMk cId="143195583" sldId="368"/>
            <ac:spMk id="2" creationId="{0945D0FC-7318-6621-DAF9-AB434464DF61}"/>
          </ac:spMkLst>
        </pc:spChg>
        <pc:spChg chg="mod">
          <ac:chgData name="Ischanka, Eugen" userId="e4e12248-2210-4459-89e3-acb2dd10c338" providerId="ADAL" clId="{50398678-1125-4921-BC2E-56DEFA904AD2}" dt="2023-11-18T14:39:02.409" v="13591" actId="20577"/>
          <ac:spMkLst>
            <pc:docMk/>
            <pc:sldMk cId="143195583" sldId="368"/>
            <ac:spMk id="3" creationId="{14D013F9-B15D-ACC4-F184-610088522F44}"/>
          </ac:spMkLst>
        </pc:spChg>
        <pc:spChg chg="mod">
          <ac:chgData name="Ischanka, Eugen" userId="e4e12248-2210-4459-89e3-acb2dd10c338" providerId="ADAL" clId="{50398678-1125-4921-BC2E-56DEFA904AD2}" dt="2023-11-18T14:39:08.293" v="13592"/>
          <ac:spMkLst>
            <pc:docMk/>
            <pc:sldMk cId="143195583" sldId="368"/>
            <ac:spMk id="4" creationId="{901D8671-5783-FB6F-B5CB-02E1F08B2A67}"/>
          </ac:spMkLst>
        </pc:spChg>
        <pc:spChg chg="add mod">
          <ac:chgData name="Ischanka, Eugen" userId="e4e12248-2210-4459-89e3-acb2dd10c338" providerId="ADAL" clId="{50398678-1125-4921-BC2E-56DEFA904AD2}" dt="2023-11-18T16:01:44.085" v="15162"/>
          <ac:spMkLst>
            <pc:docMk/>
            <pc:sldMk cId="143195583" sldId="368"/>
            <ac:spMk id="6" creationId="{933F647F-FEE9-AC82-8D17-4F8B69DB0494}"/>
          </ac:spMkLst>
        </pc:spChg>
        <pc:spChg chg="add mod">
          <ac:chgData name="Ischanka, Eugen" userId="e4e12248-2210-4459-89e3-acb2dd10c338" providerId="ADAL" clId="{50398678-1125-4921-BC2E-56DEFA904AD2}" dt="2023-11-18T16:01:50.951" v="15163"/>
          <ac:spMkLst>
            <pc:docMk/>
            <pc:sldMk cId="143195583" sldId="368"/>
            <ac:spMk id="7" creationId="{865122E9-C1B1-A6E3-ABA2-4551DD872299}"/>
          </ac:spMkLst>
        </pc:spChg>
        <pc:graphicFrameChg chg="add mod">
          <ac:chgData name="Ischanka, Eugen" userId="e4e12248-2210-4459-89e3-acb2dd10c338" providerId="ADAL" clId="{50398678-1125-4921-BC2E-56DEFA904AD2}" dt="2023-11-18T16:01:18.825" v="15161" actId="207"/>
          <ac:graphicFrameMkLst>
            <pc:docMk/>
            <pc:sldMk cId="143195583" sldId="368"/>
            <ac:graphicFrameMk id="5" creationId="{BBE54F64-FFC1-4948-E1A5-53E5EB292D73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8T16:18:15.582" v="15208" actId="404"/>
          <ac:graphicFrameMkLst>
            <pc:docMk/>
            <pc:sldMk cId="143195583" sldId="368"/>
            <ac:graphicFrameMk id="8" creationId="{AEE1DF3C-F47B-27F9-F6C3-C3C2BA99C386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50:41.903" v="18722" actId="47"/>
        <pc:sldMkLst>
          <pc:docMk/>
          <pc:sldMk cId="1016734023" sldId="369"/>
        </pc:sldMkLst>
      </pc:sldChg>
      <pc:sldChg chg="addSp delSp modSp new del mod">
        <pc:chgData name="Ischanka, Eugen" userId="e4e12248-2210-4459-89e3-acb2dd10c338" providerId="ADAL" clId="{50398678-1125-4921-BC2E-56DEFA904AD2}" dt="2023-11-19T16:33:00.834" v="15658" actId="47"/>
        <pc:sldMkLst>
          <pc:docMk/>
          <pc:sldMk cId="1811317739" sldId="370"/>
        </pc:sldMkLst>
        <pc:spChg chg="del">
          <ac:chgData name="Ischanka, Eugen" userId="e4e12248-2210-4459-89e3-acb2dd10c338" providerId="ADAL" clId="{50398678-1125-4921-BC2E-56DEFA904AD2}" dt="2023-11-18T14:47:37.717" v="13621"/>
          <ac:spMkLst>
            <pc:docMk/>
            <pc:sldMk cId="1811317739" sldId="370"/>
            <ac:spMk id="2" creationId="{C37F66EA-CC01-10BA-7C6E-250D284BA23F}"/>
          </ac:spMkLst>
        </pc:spChg>
        <pc:spChg chg="mod">
          <ac:chgData name="Ischanka, Eugen" userId="e4e12248-2210-4459-89e3-acb2dd10c338" providerId="ADAL" clId="{50398678-1125-4921-BC2E-56DEFA904AD2}" dt="2023-11-18T15:17:32.461" v="14004" actId="20577"/>
          <ac:spMkLst>
            <pc:docMk/>
            <pc:sldMk cId="1811317739" sldId="370"/>
            <ac:spMk id="3" creationId="{9C697C23-E5CE-E784-2947-73C91702AAC4}"/>
          </ac:spMkLst>
        </pc:spChg>
        <pc:spChg chg="mod">
          <ac:chgData name="Ischanka, Eugen" userId="e4e12248-2210-4459-89e3-acb2dd10c338" providerId="ADAL" clId="{50398678-1125-4921-BC2E-56DEFA904AD2}" dt="2023-11-18T14:47:58.746" v="13623"/>
          <ac:spMkLst>
            <pc:docMk/>
            <pc:sldMk cId="1811317739" sldId="370"/>
            <ac:spMk id="4" creationId="{4A9885E2-3217-8A26-080C-80D7A20DC307}"/>
          </ac:spMkLst>
        </pc:spChg>
        <pc:spChg chg="add mod">
          <ac:chgData name="Ischanka, Eugen" userId="e4e12248-2210-4459-89e3-acb2dd10c338" providerId="ADAL" clId="{50398678-1125-4921-BC2E-56DEFA904AD2}" dt="2023-11-18T14:54:29.177" v="13693" actId="1076"/>
          <ac:spMkLst>
            <pc:docMk/>
            <pc:sldMk cId="1811317739" sldId="370"/>
            <ac:spMk id="6" creationId="{87C96434-1E88-D90E-EB52-B50F8EDCD8AB}"/>
          </ac:spMkLst>
        </pc:spChg>
        <pc:spChg chg="add mod">
          <ac:chgData name="Ischanka, Eugen" userId="e4e12248-2210-4459-89e3-acb2dd10c338" providerId="ADAL" clId="{50398678-1125-4921-BC2E-56DEFA904AD2}" dt="2023-11-18T14:55:13.544" v="13706" actId="404"/>
          <ac:spMkLst>
            <pc:docMk/>
            <pc:sldMk cId="1811317739" sldId="370"/>
            <ac:spMk id="7" creationId="{4B3030C6-0BAD-995D-CCD3-A3D35570AA61}"/>
          </ac:spMkLst>
        </pc:spChg>
        <pc:spChg chg="add del">
          <ac:chgData name="Ischanka, Eugen" userId="e4e12248-2210-4459-89e3-acb2dd10c338" providerId="ADAL" clId="{50398678-1125-4921-BC2E-56DEFA904AD2}" dt="2023-11-18T16:28:35.104" v="15225" actId="478"/>
          <ac:spMkLst>
            <pc:docMk/>
            <pc:sldMk cId="1811317739" sldId="370"/>
            <ac:spMk id="9" creationId="{5717E6C1-764E-5AAD-9C63-06D59611359D}"/>
          </ac:spMkLst>
        </pc:spChg>
        <pc:graphicFrameChg chg="add mod">
          <ac:chgData name="Ischanka, Eugen" userId="e4e12248-2210-4459-89e3-acb2dd10c338" providerId="ADAL" clId="{50398678-1125-4921-BC2E-56DEFA904AD2}" dt="2023-11-18T15:14:56.458" v="13863" actId="404"/>
          <ac:graphicFrameMkLst>
            <pc:docMk/>
            <pc:sldMk cId="1811317739" sldId="370"/>
            <ac:graphicFrameMk id="5" creationId="{346694AC-5D34-A38C-F46F-73C7965196AC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8T15:15:18.140" v="13877" actId="20577"/>
          <ac:graphicFrameMkLst>
            <pc:docMk/>
            <pc:sldMk cId="1811317739" sldId="370"/>
            <ac:graphicFrameMk id="8" creationId="{ECCDB3C9-1C43-F255-6FCA-8DD0D919B400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51:50.187" v="25700" actId="27918"/>
        <pc:sldMkLst>
          <pc:docMk/>
          <pc:sldMk cId="2009142809" sldId="371"/>
        </pc:sldMkLst>
        <pc:spChg chg="del">
          <ac:chgData name="Ischanka, Eugen" userId="e4e12248-2210-4459-89e3-acb2dd10c338" providerId="ADAL" clId="{50398678-1125-4921-BC2E-56DEFA904AD2}" dt="2023-11-19T15:56:00.537" v="15426"/>
          <ac:spMkLst>
            <pc:docMk/>
            <pc:sldMk cId="2009142809" sldId="371"/>
            <ac:spMk id="2" creationId="{F1BC9245-8E91-4E81-0342-E5FED6D1E542}"/>
          </ac:spMkLst>
        </pc:spChg>
        <pc:spChg chg="mod">
          <ac:chgData name="Ischanka, Eugen" userId="e4e12248-2210-4459-89e3-acb2dd10c338" providerId="ADAL" clId="{50398678-1125-4921-BC2E-56DEFA904AD2}" dt="2023-11-19T16:05:36.640" v="15482"/>
          <ac:spMkLst>
            <pc:docMk/>
            <pc:sldMk cId="2009142809" sldId="371"/>
            <ac:spMk id="3" creationId="{F9B65F99-367E-FE80-04D9-DD40E2397380}"/>
          </ac:spMkLst>
        </pc:spChg>
        <pc:spChg chg="mod">
          <ac:chgData name="Ischanka, Eugen" userId="e4e12248-2210-4459-89e3-acb2dd10c338" providerId="ADAL" clId="{50398678-1125-4921-BC2E-56DEFA904AD2}" dt="2023-11-19T16:05:47.437" v="15483"/>
          <ac:spMkLst>
            <pc:docMk/>
            <pc:sldMk cId="2009142809" sldId="371"/>
            <ac:spMk id="4" creationId="{378C7F6B-3976-54EF-FCA9-EF3C7F7B07F0}"/>
          </ac:spMkLst>
        </pc:spChg>
        <pc:spChg chg="add del mod">
          <ac:chgData name="Ischanka, Eugen" userId="e4e12248-2210-4459-89e3-acb2dd10c338" providerId="ADAL" clId="{50398678-1125-4921-BC2E-56DEFA904AD2}" dt="2023-11-20T16:13:04.179" v="25130"/>
          <ac:spMkLst>
            <pc:docMk/>
            <pc:sldMk cId="2009142809" sldId="371"/>
            <ac:spMk id="6" creationId="{687B5CC0-5414-58C4-0A27-CF585BE162F2}"/>
          </ac:spMkLst>
        </pc:spChg>
        <pc:graphicFrameChg chg="add del mod">
          <ac:chgData name="Ischanka, Eugen" userId="e4e12248-2210-4459-89e3-acb2dd10c338" providerId="ADAL" clId="{50398678-1125-4921-BC2E-56DEFA904AD2}" dt="2023-11-20T16:12:55.700" v="25128" actId="478"/>
          <ac:graphicFrameMkLst>
            <pc:docMk/>
            <pc:sldMk cId="2009142809" sldId="371"/>
            <ac:graphicFrameMk id="5" creationId="{AEE1DF3C-F47B-27F9-F6C3-C3C2BA99C386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13:59.849" v="25139" actId="404"/>
          <ac:graphicFrameMkLst>
            <pc:docMk/>
            <pc:sldMk cId="2009142809" sldId="371"/>
            <ac:graphicFrameMk id="7" creationId="{AEE1DF3C-F47B-27F9-F6C3-C3C2BA99C386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51:50.192" v="25701" actId="27918"/>
        <pc:sldMkLst>
          <pc:docMk/>
          <pc:sldMk cId="676882289" sldId="372"/>
        </pc:sldMkLst>
        <pc:spChg chg="del">
          <ac:chgData name="Ischanka, Eugen" userId="e4e12248-2210-4459-89e3-acb2dd10c338" providerId="ADAL" clId="{50398678-1125-4921-BC2E-56DEFA904AD2}" dt="2023-11-19T16:49:11.217" v="15906"/>
          <ac:spMkLst>
            <pc:docMk/>
            <pc:sldMk cId="676882289" sldId="372"/>
            <ac:spMk id="2" creationId="{E1F5B679-2116-7578-1475-D0262AF279B9}"/>
          </ac:spMkLst>
        </pc:spChg>
        <pc:spChg chg="mod">
          <ac:chgData name="Ischanka, Eugen" userId="e4e12248-2210-4459-89e3-acb2dd10c338" providerId="ADAL" clId="{50398678-1125-4921-BC2E-56DEFA904AD2}" dt="2023-11-19T16:53:53.201" v="16012" actId="20577"/>
          <ac:spMkLst>
            <pc:docMk/>
            <pc:sldMk cId="676882289" sldId="372"/>
            <ac:spMk id="3" creationId="{E47687B2-3697-7210-CDE6-2D52BD522AC5}"/>
          </ac:spMkLst>
        </pc:spChg>
        <pc:spChg chg="mod">
          <ac:chgData name="Ischanka, Eugen" userId="e4e12248-2210-4459-89e3-acb2dd10c338" providerId="ADAL" clId="{50398678-1125-4921-BC2E-56DEFA904AD2}" dt="2023-11-19T16:40:57.805" v="15903"/>
          <ac:spMkLst>
            <pc:docMk/>
            <pc:sldMk cId="676882289" sldId="372"/>
            <ac:spMk id="4" creationId="{FF5392DF-884E-178D-677F-6A52BE560157}"/>
          </ac:spMkLst>
        </pc:spChg>
        <pc:spChg chg="add del mod">
          <ac:chgData name="Ischanka, Eugen" userId="e4e12248-2210-4459-89e3-acb2dd10c338" providerId="ADAL" clId="{50398678-1125-4921-BC2E-56DEFA904AD2}" dt="2023-11-20T16:18:42.404" v="25172"/>
          <ac:spMkLst>
            <pc:docMk/>
            <pc:sldMk cId="676882289" sldId="372"/>
            <ac:spMk id="5" creationId="{83C09354-0E36-4C72-000F-C81E0CBD4D2C}"/>
          </ac:spMkLst>
        </pc:spChg>
        <pc:spChg chg="add del mod">
          <ac:chgData name="Ischanka, Eugen" userId="e4e12248-2210-4459-89e3-acb2dd10c338" providerId="ADAL" clId="{50398678-1125-4921-BC2E-56DEFA904AD2}" dt="2023-11-19T16:55:00.740" v="16039" actId="21"/>
          <ac:spMkLst>
            <pc:docMk/>
            <pc:sldMk cId="676882289" sldId="372"/>
            <ac:spMk id="5" creationId="{F69DA881-784E-8527-FCA9-8570ED92F981}"/>
          </ac:spMkLst>
        </pc:spChg>
        <pc:spChg chg="add mod">
          <ac:chgData name="Ischanka, Eugen" userId="e4e12248-2210-4459-89e3-acb2dd10c338" providerId="ADAL" clId="{50398678-1125-4921-BC2E-56DEFA904AD2}" dt="2023-11-20T16:22:00.410" v="25251" actId="1076"/>
          <ac:spMkLst>
            <pc:docMk/>
            <pc:sldMk cId="676882289" sldId="372"/>
            <ac:spMk id="9" creationId="{0AEC6D28-74E2-43C5-5DCD-9613D8C7CF2B}"/>
          </ac:spMkLst>
        </pc:spChg>
        <pc:spChg chg="add mod">
          <ac:chgData name="Ischanka, Eugen" userId="e4e12248-2210-4459-89e3-acb2dd10c338" providerId="ADAL" clId="{50398678-1125-4921-BC2E-56DEFA904AD2}" dt="2023-11-20T16:21:58.592" v="25250" actId="1076"/>
          <ac:spMkLst>
            <pc:docMk/>
            <pc:sldMk cId="676882289" sldId="372"/>
            <ac:spMk id="10" creationId="{52291F58-8409-E731-4340-D2D48937F8C0}"/>
          </ac:spMkLst>
        </pc:spChg>
        <pc:spChg chg="add mod">
          <ac:chgData name="Ischanka, Eugen" userId="e4e12248-2210-4459-89e3-acb2dd10c338" providerId="ADAL" clId="{50398678-1125-4921-BC2E-56DEFA904AD2}" dt="2023-11-20T16:20:53.967" v="25207" actId="20577"/>
          <ac:spMkLst>
            <pc:docMk/>
            <pc:sldMk cId="676882289" sldId="372"/>
            <ac:spMk id="11" creationId="{DDC7FBE7-ADA1-DCD9-6A4D-6611A76AD7DA}"/>
          </ac:spMkLst>
        </pc:spChg>
        <pc:spChg chg="add mod">
          <ac:chgData name="Ischanka, Eugen" userId="e4e12248-2210-4459-89e3-acb2dd10c338" providerId="ADAL" clId="{50398678-1125-4921-BC2E-56DEFA904AD2}" dt="2023-11-20T16:21:00.822" v="25212" actId="20577"/>
          <ac:spMkLst>
            <pc:docMk/>
            <pc:sldMk cId="676882289" sldId="372"/>
            <ac:spMk id="12" creationId="{D838C498-6AD8-E003-0D10-3CBB74B00A60}"/>
          </ac:spMkLst>
        </pc:spChg>
        <pc:spChg chg="add mod">
          <ac:chgData name="Ischanka, Eugen" userId="e4e12248-2210-4459-89e3-acb2dd10c338" providerId="ADAL" clId="{50398678-1125-4921-BC2E-56DEFA904AD2}" dt="2023-11-20T16:21:55.059" v="25249" actId="1076"/>
          <ac:spMkLst>
            <pc:docMk/>
            <pc:sldMk cId="676882289" sldId="372"/>
            <ac:spMk id="13" creationId="{E7121F47-2409-172C-B4BD-C1A4082BA8B3}"/>
          </ac:spMkLst>
        </pc:spChg>
        <pc:graphicFrameChg chg="add del mod">
          <ac:chgData name="Ischanka, Eugen" userId="e4e12248-2210-4459-89e3-acb2dd10c338" providerId="ADAL" clId="{50398678-1125-4921-BC2E-56DEFA904AD2}" dt="2023-11-20T16:18:41.180" v="25170" actId="478"/>
          <ac:graphicFrameMkLst>
            <pc:docMk/>
            <pc:sldMk cId="676882289" sldId="372"/>
            <ac:graphicFrameMk id="6" creationId="{F1941C09-1625-44CE-A1B4-C17DC15FA258}"/>
          </ac:graphicFrameMkLst>
        </pc:graphicFrameChg>
        <pc:graphicFrameChg chg="add del mod modGraphic">
          <ac:chgData name="Ischanka, Eugen" userId="e4e12248-2210-4459-89e3-acb2dd10c338" providerId="ADAL" clId="{50398678-1125-4921-BC2E-56DEFA904AD2}" dt="2023-11-20T16:21:14.873" v="25218" actId="478"/>
          <ac:graphicFrameMkLst>
            <pc:docMk/>
            <pc:sldMk cId="676882289" sldId="372"/>
            <ac:graphicFrameMk id="7" creationId="{D9FFA558-832C-A5F6-E73E-E655465160D7}"/>
          </ac:graphicFrameMkLst>
        </pc:graphicFrameChg>
        <pc:graphicFrameChg chg="add mod ord">
          <ac:chgData name="Ischanka, Eugen" userId="e4e12248-2210-4459-89e3-acb2dd10c338" providerId="ADAL" clId="{50398678-1125-4921-BC2E-56DEFA904AD2}" dt="2023-11-20T16:23:05.142" v="25261" actId="692"/>
          <ac:graphicFrameMkLst>
            <pc:docMk/>
            <pc:sldMk cId="676882289" sldId="372"/>
            <ac:graphicFrameMk id="8" creationId="{F1941C09-1625-44CE-A1B4-C17DC15FA258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43:29.460" v="25633" actId="255"/>
        <pc:sldMkLst>
          <pc:docMk/>
          <pc:sldMk cId="2327630279" sldId="373"/>
        </pc:sldMkLst>
        <pc:spChg chg="del">
          <ac:chgData name="Ischanka, Eugen" userId="e4e12248-2210-4459-89e3-acb2dd10c338" providerId="ADAL" clId="{50398678-1125-4921-BC2E-56DEFA904AD2}" dt="2023-11-19T16:22:12.424" v="15499"/>
          <ac:spMkLst>
            <pc:docMk/>
            <pc:sldMk cId="2327630279" sldId="373"/>
            <ac:spMk id="2" creationId="{867C95C4-240E-486C-F56C-39EE3919B7FA}"/>
          </ac:spMkLst>
        </pc:spChg>
        <pc:spChg chg="mod">
          <ac:chgData name="Ischanka, Eugen" userId="e4e12248-2210-4459-89e3-acb2dd10c338" providerId="ADAL" clId="{50398678-1125-4921-BC2E-56DEFA904AD2}" dt="2023-11-19T16:40:26.736" v="15888" actId="20577"/>
          <ac:spMkLst>
            <pc:docMk/>
            <pc:sldMk cId="2327630279" sldId="373"/>
            <ac:spMk id="3" creationId="{326C6DDD-FEC7-F618-7526-02CFD05BC5D7}"/>
          </ac:spMkLst>
        </pc:spChg>
        <pc:spChg chg="mod">
          <ac:chgData name="Ischanka, Eugen" userId="e4e12248-2210-4459-89e3-acb2dd10c338" providerId="ADAL" clId="{50398678-1125-4921-BC2E-56DEFA904AD2}" dt="2023-11-19T16:24:48.866" v="15576"/>
          <ac:spMkLst>
            <pc:docMk/>
            <pc:sldMk cId="2327630279" sldId="373"/>
            <ac:spMk id="4" creationId="{B5E8BC01-7491-97C7-1D37-EAC01095744A}"/>
          </ac:spMkLst>
        </pc:spChg>
        <pc:spChg chg="add mod">
          <ac:chgData name="Ischanka, Eugen" userId="e4e12248-2210-4459-89e3-acb2dd10c338" providerId="ADAL" clId="{50398678-1125-4921-BC2E-56DEFA904AD2}" dt="2023-11-19T16:25:37.506" v="15577"/>
          <ac:spMkLst>
            <pc:docMk/>
            <pc:sldMk cId="2327630279" sldId="373"/>
            <ac:spMk id="6" creationId="{F41CB792-F5E9-78D6-6F8F-01C02AF44205}"/>
          </ac:spMkLst>
        </pc:spChg>
        <pc:spChg chg="add del mod">
          <ac:chgData name="Ischanka, Eugen" userId="e4e12248-2210-4459-89e3-acb2dd10c338" providerId="ADAL" clId="{50398678-1125-4921-BC2E-56DEFA904AD2}" dt="2023-11-20T16:43:15.526" v="25631" actId="1076"/>
          <ac:spMkLst>
            <pc:docMk/>
            <pc:sldMk cId="2327630279" sldId="373"/>
            <ac:spMk id="7" creationId="{2AEDF8D4-6E02-EE0D-24A2-1A3545ABE665}"/>
          </ac:spMkLst>
        </pc:spChg>
        <pc:graphicFrameChg chg="add mod">
          <ac:chgData name="Ischanka, Eugen" userId="e4e12248-2210-4459-89e3-acb2dd10c338" providerId="ADAL" clId="{50398678-1125-4921-BC2E-56DEFA904AD2}" dt="2023-11-20T16:43:29.460" v="25633" actId="255"/>
          <ac:graphicFrameMkLst>
            <pc:docMk/>
            <pc:sldMk cId="2327630279" sldId="373"/>
            <ac:graphicFrameMk id="5" creationId="{346694AC-5D34-A38C-F46F-73C7965196AC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42:58.331" v="25629" actId="255"/>
        <pc:sldMkLst>
          <pc:docMk/>
          <pc:sldMk cId="1800175079" sldId="374"/>
        </pc:sldMkLst>
        <pc:spChg chg="del">
          <ac:chgData name="Ischanka, Eugen" userId="e4e12248-2210-4459-89e3-acb2dd10c338" providerId="ADAL" clId="{50398678-1125-4921-BC2E-56DEFA904AD2}" dt="2023-11-19T16:30:35.829" v="15583"/>
          <ac:spMkLst>
            <pc:docMk/>
            <pc:sldMk cId="1800175079" sldId="374"/>
            <ac:spMk id="2" creationId="{4F651E61-6A47-9295-94C7-2E89BA1BBD28}"/>
          </ac:spMkLst>
        </pc:spChg>
        <pc:spChg chg="mod">
          <ac:chgData name="Ischanka, Eugen" userId="e4e12248-2210-4459-89e3-acb2dd10c338" providerId="ADAL" clId="{50398678-1125-4921-BC2E-56DEFA904AD2}" dt="2023-11-19T16:40:32.335" v="15902" actId="20577"/>
          <ac:spMkLst>
            <pc:docMk/>
            <pc:sldMk cId="1800175079" sldId="374"/>
            <ac:spMk id="3" creationId="{5422FF84-A844-0BB8-14FC-955581F1B1B4}"/>
          </ac:spMkLst>
        </pc:spChg>
        <pc:spChg chg="mod">
          <ac:chgData name="Ischanka, Eugen" userId="e4e12248-2210-4459-89e3-acb2dd10c338" providerId="ADAL" clId="{50398678-1125-4921-BC2E-56DEFA904AD2}" dt="2023-11-19T16:31:42.427" v="15634"/>
          <ac:spMkLst>
            <pc:docMk/>
            <pc:sldMk cId="1800175079" sldId="374"/>
            <ac:spMk id="4" creationId="{FE1DD8D3-A197-B340-B78F-BC9DB81AA460}"/>
          </ac:spMkLst>
        </pc:spChg>
        <pc:graphicFrameChg chg="add mod">
          <ac:chgData name="Ischanka, Eugen" userId="e4e12248-2210-4459-89e3-acb2dd10c338" providerId="ADAL" clId="{50398678-1125-4921-BC2E-56DEFA904AD2}" dt="2023-11-20T16:42:58.331" v="25629" actId="255"/>
          <ac:graphicFrameMkLst>
            <pc:docMk/>
            <pc:sldMk cId="1800175079" sldId="374"/>
            <ac:graphicFrameMk id="5" creationId="{ECCDB3C9-1C43-F255-6FCA-8DD0D919B400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24:43.929" v="25271" actId="255"/>
        <pc:sldMkLst>
          <pc:docMk/>
          <pc:sldMk cId="3281914346" sldId="375"/>
        </pc:sldMkLst>
        <pc:spChg chg="del">
          <ac:chgData name="Ischanka, Eugen" userId="e4e12248-2210-4459-89e3-acb2dd10c338" providerId="ADAL" clId="{50398678-1125-4921-BC2E-56DEFA904AD2}" dt="2023-11-19T16:49:22.470" v="15912"/>
          <ac:spMkLst>
            <pc:docMk/>
            <pc:sldMk cId="3281914346" sldId="375"/>
            <ac:spMk id="2" creationId="{18CC3884-D448-105B-9269-D5805535CB7E}"/>
          </ac:spMkLst>
        </pc:spChg>
        <pc:spChg chg="mod">
          <ac:chgData name="Ischanka, Eugen" userId="e4e12248-2210-4459-89e3-acb2dd10c338" providerId="ADAL" clId="{50398678-1125-4921-BC2E-56DEFA904AD2}" dt="2023-11-19T16:53:46.620" v="16011" actId="20577"/>
          <ac:spMkLst>
            <pc:docMk/>
            <pc:sldMk cId="3281914346" sldId="375"/>
            <ac:spMk id="3" creationId="{815A2E42-F278-EBC7-619F-7C539D7A4621}"/>
          </ac:spMkLst>
        </pc:spChg>
        <pc:spChg chg="mod">
          <ac:chgData name="Ischanka, Eugen" userId="e4e12248-2210-4459-89e3-acb2dd10c338" providerId="ADAL" clId="{50398678-1125-4921-BC2E-56DEFA904AD2}" dt="2023-11-19T16:54:55.975" v="16038" actId="20577"/>
          <ac:spMkLst>
            <pc:docMk/>
            <pc:sldMk cId="3281914346" sldId="375"/>
            <ac:spMk id="4" creationId="{E400BD09-CD98-2F0D-BCE8-A4850C91AE52}"/>
          </ac:spMkLst>
        </pc:spChg>
        <pc:spChg chg="add mod">
          <ac:chgData name="Ischanka, Eugen" userId="e4e12248-2210-4459-89e3-acb2dd10c338" providerId="ADAL" clId="{50398678-1125-4921-BC2E-56DEFA904AD2}" dt="2023-11-19T16:57:48.570" v="16096" actId="1076"/>
          <ac:spMkLst>
            <pc:docMk/>
            <pc:sldMk cId="3281914346" sldId="375"/>
            <ac:spMk id="6" creationId="{C4A4217F-58DC-76A6-E54F-4BD1714C11B8}"/>
          </ac:spMkLst>
        </pc:spChg>
        <pc:spChg chg="add del">
          <ac:chgData name="Ischanka, Eugen" userId="e4e12248-2210-4459-89e3-acb2dd10c338" providerId="ADAL" clId="{50398678-1125-4921-BC2E-56DEFA904AD2}" dt="2023-11-20T08:33:09.672" v="23107" actId="22"/>
          <ac:spMkLst>
            <pc:docMk/>
            <pc:sldMk cId="3281914346" sldId="375"/>
            <ac:spMk id="8" creationId="{3A888755-AF51-73EA-0B29-60881400FB39}"/>
          </ac:spMkLst>
        </pc:spChg>
        <pc:graphicFrameChg chg="add mod">
          <ac:chgData name="Ischanka, Eugen" userId="e4e12248-2210-4459-89e3-acb2dd10c338" providerId="ADAL" clId="{50398678-1125-4921-BC2E-56DEFA904AD2}" dt="2023-11-20T16:24:43.929" v="25271" actId="255"/>
          <ac:graphicFrameMkLst>
            <pc:docMk/>
            <pc:sldMk cId="3281914346" sldId="375"/>
            <ac:graphicFrameMk id="5" creationId="{8784E5E8-011B-4D46-9F8E-23179A604EBB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9T17:25:13.066" v="16841" actId="1076"/>
          <ac:graphicFrameMkLst>
            <pc:docMk/>
            <pc:sldMk cId="3281914346" sldId="375"/>
            <ac:graphicFrameMk id="7" creationId="{4D25813E-7C0F-3970-85FB-42748A2EC96B}"/>
          </ac:graphicFrameMkLst>
        </pc:graphicFrameChg>
      </pc:sldChg>
      <pc:sldChg chg="addSp delSp modSp new mod ord">
        <pc:chgData name="Ischanka, Eugen" userId="e4e12248-2210-4459-89e3-acb2dd10c338" providerId="ADAL" clId="{50398678-1125-4921-BC2E-56DEFA904AD2}" dt="2023-11-20T16:24:32.906" v="25269" actId="255"/>
        <pc:sldMkLst>
          <pc:docMk/>
          <pc:sldMk cId="3269083357" sldId="376"/>
        </pc:sldMkLst>
        <pc:spChg chg="del">
          <ac:chgData name="Ischanka, Eugen" userId="e4e12248-2210-4459-89e3-acb2dd10c338" providerId="ADAL" clId="{50398678-1125-4921-BC2E-56DEFA904AD2}" dt="2023-11-19T16:49:34.999" v="15914"/>
          <ac:spMkLst>
            <pc:docMk/>
            <pc:sldMk cId="3269083357" sldId="376"/>
            <ac:spMk id="2" creationId="{621CFB93-3B55-B932-54E6-02C0F3EF2D66}"/>
          </ac:spMkLst>
        </pc:spChg>
        <pc:spChg chg="mod">
          <ac:chgData name="Ischanka, Eugen" userId="e4e12248-2210-4459-89e3-acb2dd10c338" providerId="ADAL" clId="{50398678-1125-4921-BC2E-56DEFA904AD2}" dt="2023-11-19T16:58:14.718" v="16103" actId="20577"/>
          <ac:spMkLst>
            <pc:docMk/>
            <pc:sldMk cId="3269083357" sldId="376"/>
            <ac:spMk id="3" creationId="{047E2D33-62EC-C94A-ED6A-D41A90FDDF71}"/>
          </ac:spMkLst>
        </pc:spChg>
        <pc:spChg chg="mod">
          <ac:chgData name="Ischanka, Eugen" userId="e4e12248-2210-4459-89e3-acb2dd10c338" providerId="ADAL" clId="{50398678-1125-4921-BC2E-56DEFA904AD2}" dt="2023-11-19T16:58:05.441" v="16097"/>
          <ac:spMkLst>
            <pc:docMk/>
            <pc:sldMk cId="3269083357" sldId="376"/>
            <ac:spMk id="4" creationId="{ABD993F8-85DE-125E-FEF7-E9FF8432EE95}"/>
          </ac:spMkLst>
        </pc:spChg>
        <pc:graphicFrameChg chg="add mod">
          <ac:chgData name="Ischanka, Eugen" userId="e4e12248-2210-4459-89e3-acb2dd10c338" providerId="ADAL" clId="{50398678-1125-4921-BC2E-56DEFA904AD2}" dt="2023-11-20T16:24:32.906" v="25269" actId="255"/>
          <ac:graphicFrameMkLst>
            <pc:docMk/>
            <pc:sldMk cId="3269083357" sldId="376"/>
            <ac:graphicFrameMk id="5" creationId="{1A860266-F824-45CE-A547-C31411C798BF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9T17:25:18.702" v="16842" actId="1076"/>
          <ac:graphicFrameMkLst>
            <pc:docMk/>
            <pc:sldMk cId="3269083357" sldId="376"/>
            <ac:graphicFrameMk id="6" creationId="{6ACFA3C3-1B23-89E6-71E3-32DCBF652CE3}"/>
          </ac:graphicFrameMkLst>
        </pc:graphicFrameChg>
      </pc:sldChg>
      <pc:sldChg chg="addSp delSp modSp new mod ord">
        <pc:chgData name="Ischanka, Eugen" userId="e4e12248-2210-4459-89e3-acb2dd10c338" providerId="ADAL" clId="{50398678-1125-4921-BC2E-56DEFA904AD2}" dt="2023-11-20T16:56:03.769" v="25742" actId="12385"/>
        <pc:sldMkLst>
          <pc:docMk/>
          <pc:sldMk cId="1621961505" sldId="377"/>
        </pc:sldMkLst>
        <pc:spChg chg="del mod">
          <ac:chgData name="Ischanka, Eugen" userId="e4e12248-2210-4459-89e3-acb2dd10c338" providerId="ADAL" clId="{50398678-1125-4921-BC2E-56DEFA904AD2}" dt="2023-11-19T18:03:39.760" v="17731" actId="478"/>
          <ac:spMkLst>
            <pc:docMk/>
            <pc:sldMk cId="1621961505" sldId="377"/>
            <ac:spMk id="2" creationId="{0BA946D4-CFF5-9590-C606-A68B41F4B1F0}"/>
          </ac:spMkLst>
        </pc:spChg>
        <pc:spChg chg="mod">
          <ac:chgData name="Ischanka, Eugen" userId="e4e12248-2210-4459-89e3-acb2dd10c338" providerId="ADAL" clId="{50398678-1125-4921-BC2E-56DEFA904AD2}" dt="2023-11-20T16:35:36.778" v="25410"/>
          <ac:spMkLst>
            <pc:docMk/>
            <pc:sldMk cId="1621961505" sldId="377"/>
            <ac:spMk id="3" creationId="{572F8CD4-3FE3-1DCE-C265-DC51B7D59A61}"/>
          </ac:spMkLst>
        </pc:spChg>
        <pc:spChg chg="mod">
          <ac:chgData name="Ischanka, Eugen" userId="e4e12248-2210-4459-89e3-acb2dd10c338" providerId="ADAL" clId="{50398678-1125-4921-BC2E-56DEFA904AD2}" dt="2023-11-19T17:08:19.612" v="16465"/>
          <ac:spMkLst>
            <pc:docMk/>
            <pc:sldMk cId="1621961505" sldId="377"/>
            <ac:spMk id="4" creationId="{88D60274-7484-4A6E-7CCC-292A1D294FFC}"/>
          </ac:spMkLst>
        </pc:spChg>
        <pc:spChg chg="add del mod">
          <ac:chgData name="Ischanka, Eugen" userId="e4e12248-2210-4459-89e3-acb2dd10c338" providerId="ADAL" clId="{50398678-1125-4921-BC2E-56DEFA904AD2}" dt="2023-11-19T17:05:45.939" v="16218" actId="478"/>
          <ac:spMkLst>
            <pc:docMk/>
            <pc:sldMk cId="1621961505" sldId="377"/>
            <ac:spMk id="5" creationId="{5FAA9E5C-9071-F02A-4548-AECC2948DBDC}"/>
          </ac:spMkLst>
        </pc:spChg>
        <pc:spChg chg="add del mod">
          <ac:chgData name="Ischanka, Eugen" userId="e4e12248-2210-4459-89e3-acb2dd10c338" providerId="ADAL" clId="{50398678-1125-4921-BC2E-56DEFA904AD2}" dt="2023-11-20T16:34:28.929" v="25360"/>
          <ac:spMkLst>
            <pc:docMk/>
            <pc:sldMk cId="1621961505" sldId="377"/>
            <ac:spMk id="5" creationId="{7267EE92-FF61-07F4-4CE9-2936E80095DC}"/>
          </ac:spMkLst>
        </pc:spChg>
        <pc:spChg chg="add del mod">
          <ac:chgData name="Ischanka, Eugen" userId="e4e12248-2210-4459-89e3-acb2dd10c338" providerId="ADAL" clId="{50398678-1125-4921-BC2E-56DEFA904AD2}" dt="2023-11-20T16:28:31.109" v="25354" actId="478"/>
          <ac:spMkLst>
            <pc:docMk/>
            <pc:sldMk cId="1621961505" sldId="377"/>
            <ac:spMk id="6" creationId="{22476290-23A6-57DD-6BEE-86260AC4DE97}"/>
          </ac:spMkLst>
        </pc:spChg>
        <pc:spChg chg="add del mod">
          <ac:chgData name="Ischanka, Eugen" userId="e4e12248-2210-4459-89e3-acb2dd10c338" providerId="ADAL" clId="{50398678-1125-4921-BC2E-56DEFA904AD2}" dt="2023-11-19T17:09:10.821" v="16583" actId="478"/>
          <ac:spMkLst>
            <pc:docMk/>
            <pc:sldMk cId="1621961505" sldId="377"/>
            <ac:spMk id="7" creationId="{53BB5138-E8DA-6444-AE4C-8E4E73A5BD16}"/>
          </ac:spMkLst>
        </pc:spChg>
        <pc:spChg chg="add del mod">
          <ac:chgData name="Ischanka, Eugen" userId="e4e12248-2210-4459-89e3-acb2dd10c338" providerId="ADAL" clId="{50398678-1125-4921-BC2E-56DEFA904AD2}" dt="2023-11-19T18:03:42.532" v="17732" actId="478"/>
          <ac:spMkLst>
            <pc:docMk/>
            <pc:sldMk cId="1621961505" sldId="377"/>
            <ac:spMk id="8" creationId="{1500D759-3D33-BCBC-C3F9-1B523DF089ED}"/>
          </ac:spMkLst>
        </pc:spChg>
        <pc:spChg chg="add del mod">
          <ac:chgData name="Ischanka, Eugen" userId="e4e12248-2210-4459-89e3-acb2dd10c338" providerId="ADAL" clId="{50398678-1125-4921-BC2E-56DEFA904AD2}" dt="2023-11-19T18:03:45.233" v="17734"/>
          <ac:spMkLst>
            <pc:docMk/>
            <pc:sldMk cId="1621961505" sldId="377"/>
            <ac:spMk id="10" creationId="{71F97EDF-0572-ED80-D5CD-E07E2C438646}"/>
          </ac:spMkLst>
        </pc:spChg>
        <pc:spChg chg="add mod">
          <ac:chgData name="Ischanka, Eugen" userId="e4e12248-2210-4459-89e3-acb2dd10c338" providerId="ADAL" clId="{50398678-1125-4921-BC2E-56DEFA904AD2}" dt="2023-11-20T16:38:46.012" v="25529" actId="1076"/>
          <ac:spMkLst>
            <pc:docMk/>
            <pc:sldMk cId="1621961505" sldId="377"/>
            <ac:spMk id="14" creationId="{2EB2CB67-4512-27AE-AC8D-1BE3521C1379}"/>
          </ac:spMkLst>
        </pc:spChg>
        <pc:spChg chg="add mod">
          <ac:chgData name="Ischanka, Eugen" userId="e4e12248-2210-4459-89e3-acb2dd10c338" providerId="ADAL" clId="{50398678-1125-4921-BC2E-56DEFA904AD2}" dt="2023-11-19T20:01:18.987" v="18903" actId="1076"/>
          <ac:spMkLst>
            <pc:docMk/>
            <pc:sldMk cId="1621961505" sldId="377"/>
            <ac:spMk id="15" creationId="{BB585163-AF63-4740-4A84-0B922C2CD725}"/>
          </ac:spMkLst>
        </pc:spChg>
        <pc:spChg chg="add mod">
          <ac:chgData name="Ischanka, Eugen" userId="e4e12248-2210-4459-89e3-acb2dd10c338" providerId="ADAL" clId="{50398678-1125-4921-BC2E-56DEFA904AD2}" dt="2023-11-20T16:28:00.128" v="25352" actId="1076"/>
          <ac:spMkLst>
            <pc:docMk/>
            <pc:sldMk cId="1621961505" sldId="377"/>
            <ac:spMk id="16" creationId="{FBBCDA19-1C76-16AF-94C6-B2E0789D7856}"/>
          </ac:spMkLst>
        </pc:spChg>
        <pc:graphicFrameChg chg="add mod">
          <ac:chgData name="Ischanka, Eugen" userId="e4e12248-2210-4459-89e3-acb2dd10c338" providerId="ADAL" clId="{50398678-1125-4921-BC2E-56DEFA904AD2}" dt="2023-11-20T16:34:26.937" v="25358"/>
          <ac:graphicFrameMkLst>
            <pc:docMk/>
            <pc:sldMk cId="1621961505" sldId="377"/>
            <ac:graphicFrameMk id="7" creationId="{2410E413-E0CA-8BF4-71F8-A05BFFBC83E7}"/>
          </ac:graphicFrameMkLst>
        </pc:graphicFrameChg>
        <pc:graphicFrameChg chg="add mod ord">
          <ac:chgData name="Ischanka, Eugen" userId="e4e12248-2210-4459-89e3-acb2dd10c338" providerId="ADAL" clId="{50398678-1125-4921-BC2E-56DEFA904AD2}" dt="2023-11-20T16:55:06.800" v="25739" actId="20577"/>
          <ac:graphicFrameMkLst>
            <pc:docMk/>
            <pc:sldMk cId="1621961505" sldId="377"/>
            <ac:graphicFrameMk id="8" creationId="{2410E413-E0CA-8BF4-71F8-A05BFFBC83E7}"/>
          </ac:graphicFrameMkLst>
        </pc:graphicFrameChg>
        <pc:graphicFrameChg chg="add del mod ord">
          <ac:chgData name="Ischanka, Eugen" userId="e4e12248-2210-4459-89e3-acb2dd10c338" providerId="ADAL" clId="{50398678-1125-4921-BC2E-56DEFA904AD2}" dt="2023-11-20T16:34:24.819" v="25355" actId="478"/>
          <ac:graphicFrameMkLst>
            <pc:docMk/>
            <pc:sldMk cId="1621961505" sldId="377"/>
            <ac:graphicFrameMk id="11" creationId="{C7794AC2-6637-D80B-9B50-202F5EFC11DE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9T18:04:14.303" v="17737" actId="478"/>
          <ac:graphicFrameMkLst>
            <pc:docMk/>
            <pc:sldMk cId="1621961505" sldId="377"/>
            <ac:graphicFrameMk id="12" creationId="{3988173B-AB06-FB49-80A1-2926E8CE4B1F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20T16:56:03.769" v="25742" actId="12385"/>
          <ac:graphicFrameMkLst>
            <pc:docMk/>
            <pc:sldMk cId="1621961505" sldId="377"/>
            <ac:graphicFrameMk id="13" creationId="{B9CBF595-39E4-F6F5-3D46-AE4FCCA8EDBF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50:07.383" v="18714" actId="47"/>
        <pc:sldMkLst>
          <pc:docMk/>
          <pc:sldMk cId="1619524637" sldId="378"/>
        </pc:sldMkLst>
      </pc:sldChg>
      <pc:sldChg chg="addSp delSp modSp new del mod">
        <pc:chgData name="Ischanka, Eugen" userId="e4e12248-2210-4459-89e3-acb2dd10c338" providerId="ADAL" clId="{50398678-1125-4921-BC2E-56DEFA904AD2}" dt="2023-11-19T17:47:09.376" v="17079" actId="47"/>
        <pc:sldMkLst>
          <pc:docMk/>
          <pc:sldMk cId="2420199383" sldId="379"/>
        </pc:sldMkLst>
        <pc:spChg chg="del">
          <ac:chgData name="Ischanka, Eugen" userId="e4e12248-2210-4459-89e3-acb2dd10c338" providerId="ADAL" clId="{50398678-1125-4921-BC2E-56DEFA904AD2}" dt="2023-11-19T17:34:30.077" v="16852"/>
          <ac:spMkLst>
            <pc:docMk/>
            <pc:sldMk cId="2420199383" sldId="379"/>
            <ac:spMk id="2" creationId="{924292A4-835E-EEEA-ABA3-8830B17199F0}"/>
          </ac:spMkLst>
        </pc:spChg>
        <pc:spChg chg="mod">
          <ac:chgData name="Ischanka, Eugen" userId="e4e12248-2210-4459-89e3-acb2dd10c338" providerId="ADAL" clId="{50398678-1125-4921-BC2E-56DEFA904AD2}" dt="2023-11-19T17:09:51.157" v="16617" actId="20577"/>
          <ac:spMkLst>
            <pc:docMk/>
            <pc:sldMk cId="2420199383" sldId="379"/>
            <ac:spMk id="3" creationId="{66995B09-2897-2EA8-0E79-F84DF4ACDA9F}"/>
          </ac:spMkLst>
        </pc:spChg>
        <pc:spChg chg="mod">
          <ac:chgData name="Ischanka, Eugen" userId="e4e12248-2210-4459-89e3-acb2dd10c338" providerId="ADAL" clId="{50398678-1125-4921-BC2E-56DEFA904AD2}" dt="2023-11-19T17:09:36.551" v="16608"/>
          <ac:spMkLst>
            <pc:docMk/>
            <pc:sldMk cId="2420199383" sldId="379"/>
            <ac:spMk id="4" creationId="{37759982-973B-45C5-A2D3-2EB8EA3702EF}"/>
          </ac:spMkLst>
        </pc:spChg>
        <pc:spChg chg="add mod">
          <ac:chgData name="Ischanka, Eugen" userId="e4e12248-2210-4459-89e3-acb2dd10c338" providerId="ADAL" clId="{50398678-1125-4921-BC2E-56DEFA904AD2}" dt="2023-11-19T17:36:27.073" v="16862" actId="478"/>
          <ac:spMkLst>
            <pc:docMk/>
            <pc:sldMk cId="2420199383" sldId="379"/>
            <ac:spMk id="7" creationId="{9F1D211A-5909-6CDE-D87E-140521481CC3}"/>
          </ac:spMkLst>
        </pc:spChg>
        <pc:graphicFrameChg chg="add del mod">
          <ac:chgData name="Ischanka, Eugen" userId="e4e12248-2210-4459-89e3-acb2dd10c338" providerId="ADAL" clId="{50398678-1125-4921-BC2E-56DEFA904AD2}" dt="2023-11-19T17:36:27.073" v="16862" actId="478"/>
          <ac:graphicFrameMkLst>
            <pc:docMk/>
            <pc:sldMk cId="2420199383" sldId="379"/>
            <ac:graphicFrameMk id="5" creationId="{8E2BAB59-9BCD-6397-F222-06964A3BC6CA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7:26:03.181" v="16850" actId="47"/>
        <pc:sldMkLst>
          <pc:docMk/>
          <pc:sldMk cId="829209450" sldId="380"/>
        </pc:sldMkLst>
      </pc:sldChg>
      <pc:sldChg chg="addSp delSp modSp add mod">
        <pc:chgData name="Ischanka, Eugen" userId="e4e12248-2210-4459-89e3-acb2dd10c338" providerId="ADAL" clId="{50398678-1125-4921-BC2E-56DEFA904AD2}" dt="2023-11-20T16:41:34.282" v="25603" actId="255"/>
        <pc:sldMkLst>
          <pc:docMk/>
          <pc:sldMk cId="2777772671" sldId="380"/>
        </pc:sldMkLst>
        <pc:spChg chg="add del mod">
          <ac:chgData name="Ischanka, Eugen" userId="e4e12248-2210-4459-89e3-acb2dd10c338" providerId="ADAL" clId="{50398678-1125-4921-BC2E-56DEFA904AD2}" dt="2023-11-19T17:35:02.726" v="16856"/>
          <ac:spMkLst>
            <pc:docMk/>
            <pc:sldMk cId="2777772671" sldId="380"/>
            <ac:spMk id="6" creationId="{77BFCE0F-1EFA-83F9-8218-A65ED3A0DCCD}"/>
          </ac:spMkLst>
        </pc:spChg>
        <pc:spChg chg="add mod">
          <ac:chgData name="Ischanka, Eugen" userId="e4e12248-2210-4459-89e3-acb2dd10c338" providerId="ADAL" clId="{50398678-1125-4921-BC2E-56DEFA904AD2}" dt="2023-11-20T16:41:08.311" v="25601" actId="1076"/>
          <ac:spMkLst>
            <pc:docMk/>
            <pc:sldMk cId="2777772671" sldId="380"/>
            <ac:spMk id="9" creationId="{A933E892-D0DA-DF66-31CF-7B57D5FA5792}"/>
          </ac:spMkLst>
        </pc:spChg>
        <pc:spChg chg="add del mod">
          <ac:chgData name="Ischanka, Eugen" userId="e4e12248-2210-4459-89e3-acb2dd10c338" providerId="ADAL" clId="{50398678-1125-4921-BC2E-56DEFA904AD2}" dt="2023-11-19T17:53:54.259" v="17728" actId="478"/>
          <ac:spMkLst>
            <pc:docMk/>
            <pc:sldMk cId="2777772671" sldId="380"/>
            <ac:spMk id="10" creationId="{349C5490-248C-3F90-FBC1-D3962989F86A}"/>
          </ac:spMkLst>
        </pc:spChg>
        <pc:graphicFrameChg chg="del">
          <ac:chgData name="Ischanka, Eugen" userId="e4e12248-2210-4459-89e3-acb2dd10c338" providerId="ADAL" clId="{50398678-1125-4921-BC2E-56DEFA904AD2}" dt="2023-11-19T17:34:44.760" v="16854" actId="478"/>
          <ac:graphicFrameMkLst>
            <pc:docMk/>
            <pc:sldMk cId="2777772671" sldId="380"/>
            <ac:graphicFrameMk id="5" creationId="{8E2BAB59-9BCD-6397-F222-06964A3BC6CA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41:34.282" v="25603" actId="255"/>
          <ac:graphicFrameMkLst>
            <pc:docMk/>
            <pc:sldMk cId="2777772671" sldId="380"/>
            <ac:graphicFrameMk id="7" creationId="{46C517C2-8DF6-4513-B544-DFCEEB91EEF9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20T16:40:52.731" v="25597" actId="1076"/>
          <ac:graphicFrameMkLst>
            <pc:docMk/>
            <pc:sldMk cId="2777772671" sldId="380"/>
            <ac:graphicFrameMk id="8" creationId="{A88BF580-9E15-A211-A0B9-60633005C5FA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7:36:23.206" v="16861" actId="47"/>
        <pc:sldMkLst>
          <pc:docMk/>
          <pc:sldMk cId="1690575608" sldId="381"/>
        </pc:sldMkLst>
      </pc:sldChg>
      <pc:sldChg chg="addSp delSp modSp add mod">
        <pc:chgData name="Ischanka, Eugen" userId="e4e12248-2210-4459-89e3-acb2dd10c338" providerId="ADAL" clId="{50398678-1125-4921-BC2E-56DEFA904AD2}" dt="2023-11-20T16:41:44.752" v="25605" actId="255"/>
        <pc:sldMkLst>
          <pc:docMk/>
          <pc:sldMk cId="1916996503" sldId="382"/>
        </pc:sldMkLst>
        <pc:spChg chg="add del mod">
          <ac:chgData name="Ischanka, Eugen" userId="e4e12248-2210-4459-89e3-acb2dd10c338" providerId="ADAL" clId="{50398678-1125-4921-BC2E-56DEFA904AD2}" dt="2023-11-19T17:47:34.861" v="17081" actId="478"/>
          <ac:spMkLst>
            <pc:docMk/>
            <pc:sldMk cId="1916996503" sldId="382"/>
            <ac:spMk id="6" creationId="{B3F52D08-A039-4209-AD73-09025B836773}"/>
          </ac:spMkLst>
        </pc:spChg>
        <pc:spChg chg="add mod">
          <ac:chgData name="Ischanka, Eugen" userId="e4e12248-2210-4459-89e3-acb2dd10c338" providerId="ADAL" clId="{50398678-1125-4921-BC2E-56DEFA904AD2}" dt="2023-11-20T16:39:58.992" v="25551" actId="1076"/>
          <ac:spMkLst>
            <pc:docMk/>
            <pc:sldMk cId="1916996503" sldId="382"/>
            <ac:spMk id="7" creationId="{53B26BFF-5B53-C0BF-8875-3CBA0612145F}"/>
          </ac:spMkLst>
        </pc:spChg>
        <pc:graphicFrameChg chg="add mod modGraphic">
          <ac:chgData name="Ischanka, Eugen" userId="e4e12248-2210-4459-89e3-acb2dd10c338" providerId="ADAL" clId="{50398678-1125-4921-BC2E-56DEFA904AD2}" dt="2023-11-20T16:40:06.993" v="25557" actId="20577"/>
          <ac:graphicFrameMkLst>
            <pc:docMk/>
            <pc:sldMk cId="1916996503" sldId="382"/>
            <ac:graphicFrameMk id="2" creationId="{F16ABC52-3A95-32A4-A473-2E0950F6F32F}"/>
          </ac:graphicFrameMkLst>
        </pc:graphicFrameChg>
        <pc:graphicFrameChg chg="mod">
          <ac:chgData name="Ischanka, Eugen" userId="e4e12248-2210-4459-89e3-acb2dd10c338" providerId="ADAL" clId="{50398678-1125-4921-BC2E-56DEFA904AD2}" dt="2023-11-20T16:41:44.752" v="25605" actId="255"/>
          <ac:graphicFrameMkLst>
            <pc:docMk/>
            <pc:sldMk cId="1916996503" sldId="382"/>
            <ac:graphicFrameMk id="5" creationId="{8E2BAB59-9BCD-6397-F222-06964A3BC6CA}"/>
          </ac:graphicFrameMkLst>
        </pc:graphicFrameChg>
      </pc:sldChg>
      <pc:sldChg chg="addSp delSp modSp new del mod modClrScheme chgLayout">
        <pc:chgData name="Ischanka, Eugen" userId="e4e12248-2210-4459-89e3-acb2dd10c338" providerId="ADAL" clId="{50398678-1125-4921-BC2E-56DEFA904AD2}" dt="2023-11-19T20:09:06.661" v="19034" actId="47"/>
        <pc:sldMkLst>
          <pc:docMk/>
          <pc:sldMk cId="2940739086" sldId="383"/>
        </pc:sldMkLst>
        <pc:spChg chg="del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2" creationId="{B51EC234-B4A7-B524-47FE-D5EF538AE223}"/>
          </ac:spMkLst>
        </pc:spChg>
        <pc:spChg chg="del mod ord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3" creationId="{65A9BDB8-ED49-C072-532B-882E882A998B}"/>
          </ac:spMkLst>
        </pc:spChg>
        <pc:spChg chg="del mod ord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4" creationId="{4F6B9212-CBA6-BD8E-C9C1-5EAB0E9155FB}"/>
          </ac:spMkLst>
        </pc:spChg>
        <pc:spChg chg="add mod ord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5" creationId="{7477A81A-6B74-1583-9B77-9C625F209AE0}"/>
          </ac:spMkLst>
        </pc:spChg>
        <pc:spChg chg="add del mod ord">
          <ac:chgData name="Ischanka, Eugen" userId="e4e12248-2210-4459-89e3-acb2dd10c338" providerId="ADAL" clId="{50398678-1125-4921-BC2E-56DEFA904AD2}" dt="2023-11-19T18:51:22.158" v="18729" actId="478"/>
          <ac:spMkLst>
            <pc:docMk/>
            <pc:sldMk cId="2940739086" sldId="383"/>
            <ac:spMk id="6" creationId="{BC9DAE41-ED94-7CC4-A4D4-6F9EC3AF3157}"/>
          </ac:spMkLst>
        </pc:spChg>
      </pc:sldChg>
      <pc:sldChg chg="modSp add mod">
        <pc:chgData name="Ischanka, Eugen" userId="e4e12248-2210-4459-89e3-acb2dd10c338" providerId="ADAL" clId="{50398678-1125-4921-BC2E-56DEFA904AD2}" dt="2023-11-20T16:02:50.566" v="25044" actId="207"/>
        <pc:sldMkLst>
          <pc:docMk/>
          <pc:sldMk cId="375593325" sldId="384"/>
        </pc:sldMkLst>
        <pc:spChg chg="mod">
          <ac:chgData name="Ischanka, Eugen" userId="e4e12248-2210-4459-89e3-acb2dd10c338" providerId="ADAL" clId="{50398678-1125-4921-BC2E-56DEFA904AD2}" dt="2023-11-19T19:50:14.929" v="18779"/>
          <ac:spMkLst>
            <pc:docMk/>
            <pc:sldMk cId="375593325" sldId="384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2:50.566" v="25044" actId="207"/>
          <ac:graphicFrameMkLst>
            <pc:docMk/>
            <pc:sldMk cId="375593325" sldId="384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05.367" v="25045"/>
        <pc:sldMkLst>
          <pc:docMk/>
          <pc:sldMk cId="2261440095" sldId="385"/>
        </pc:sldMkLst>
        <pc:spChg chg="mod">
          <ac:chgData name="Ischanka, Eugen" userId="e4e12248-2210-4459-89e3-acb2dd10c338" providerId="ADAL" clId="{50398678-1125-4921-BC2E-56DEFA904AD2}" dt="2023-11-19T19:56:36.684" v="18850"/>
          <ac:spMkLst>
            <pc:docMk/>
            <pc:sldMk cId="2261440095" sldId="385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05.367" v="25045"/>
          <ac:graphicFrameMkLst>
            <pc:docMk/>
            <pc:sldMk cId="2261440095" sldId="385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21.639" v="25047" actId="207"/>
        <pc:sldMkLst>
          <pc:docMk/>
          <pc:sldMk cId="413857255" sldId="386"/>
        </pc:sldMkLst>
        <pc:spChg chg="mod">
          <ac:chgData name="Ischanka, Eugen" userId="e4e12248-2210-4459-89e3-acb2dd10c338" providerId="ADAL" clId="{50398678-1125-4921-BC2E-56DEFA904AD2}" dt="2023-11-19T19:58:20.202" v="18867"/>
          <ac:spMkLst>
            <pc:docMk/>
            <pc:sldMk cId="413857255" sldId="386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21.639" v="25047" actId="207"/>
          <ac:graphicFrameMkLst>
            <pc:docMk/>
            <pc:sldMk cId="413857255" sldId="386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28.325" v="25048"/>
        <pc:sldMkLst>
          <pc:docMk/>
          <pc:sldMk cId="778696541" sldId="387"/>
        </pc:sldMkLst>
        <pc:spChg chg="mod">
          <ac:chgData name="Ischanka, Eugen" userId="e4e12248-2210-4459-89e3-acb2dd10c338" providerId="ADAL" clId="{50398678-1125-4921-BC2E-56DEFA904AD2}" dt="2023-11-19T20:03:52.501" v="18967"/>
          <ac:spMkLst>
            <pc:docMk/>
            <pc:sldMk cId="778696541" sldId="387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28.325" v="25048"/>
          <ac:graphicFrameMkLst>
            <pc:docMk/>
            <pc:sldMk cId="778696541" sldId="387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35.953" v="25049"/>
        <pc:sldMkLst>
          <pc:docMk/>
          <pc:sldMk cId="3389607607" sldId="388"/>
        </pc:sldMkLst>
        <pc:spChg chg="mod">
          <ac:chgData name="Ischanka, Eugen" userId="e4e12248-2210-4459-89e3-acb2dd10c338" providerId="ADAL" clId="{50398678-1125-4921-BC2E-56DEFA904AD2}" dt="2023-11-19T20:04:47.271" v="18975"/>
          <ac:spMkLst>
            <pc:docMk/>
            <pc:sldMk cId="3389607607" sldId="388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35.953" v="25049"/>
          <ac:graphicFrameMkLst>
            <pc:docMk/>
            <pc:sldMk cId="3389607607" sldId="388"/>
            <ac:graphicFrameMk id="5" creationId="{F1C28F30-D460-56AF-6095-BE03CD4AECD5}"/>
          </ac:graphicFrameMkLst>
        </pc:graphicFrameChg>
      </pc:sldChg>
      <pc:sldChg chg="addSp delSp modSp new mod modClrScheme chgLayout">
        <pc:chgData name="Ischanka, Eugen" userId="e4e12248-2210-4459-89e3-acb2dd10c338" providerId="ADAL" clId="{50398678-1125-4921-BC2E-56DEFA904AD2}" dt="2023-11-19T18:52:05.736" v="18767" actId="403"/>
        <pc:sldMkLst>
          <pc:docMk/>
          <pc:sldMk cId="2778634486" sldId="389"/>
        </pc:sldMkLst>
        <pc:spChg chg="del">
          <ac:chgData name="Ischanka, Eugen" userId="e4e12248-2210-4459-89e3-acb2dd10c338" providerId="ADAL" clId="{50398678-1125-4921-BC2E-56DEFA904AD2}" dt="2023-11-19T18:51:36.700" v="18731" actId="700"/>
          <ac:spMkLst>
            <pc:docMk/>
            <pc:sldMk cId="2778634486" sldId="389"/>
            <ac:spMk id="2" creationId="{1112B576-622F-2541-70FE-C264D593A801}"/>
          </ac:spMkLst>
        </pc:spChg>
        <pc:spChg chg="del mod ord">
          <ac:chgData name="Ischanka, Eugen" userId="e4e12248-2210-4459-89e3-acb2dd10c338" providerId="ADAL" clId="{50398678-1125-4921-BC2E-56DEFA904AD2}" dt="2023-11-19T18:51:36.700" v="18731" actId="700"/>
          <ac:spMkLst>
            <pc:docMk/>
            <pc:sldMk cId="2778634486" sldId="389"/>
            <ac:spMk id="3" creationId="{C271B1AB-98A0-0912-FD26-70A65ECDE81C}"/>
          </ac:spMkLst>
        </pc:spChg>
        <pc:spChg chg="del">
          <ac:chgData name="Ischanka, Eugen" userId="e4e12248-2210-4459-89e3-acb2dd10c338" providerId="ADAL" clId="{50398678-1125-4921-BC2E-56DEFA904AD2}" dt="2023-11-19T18:51:36.700" v="18731" actId="700"/>
          <ac:spMkLst>
            <pc:docMk/>
            <pc:sldMk cId="2778634486" sldId="389"/>
            <ac:spMk id="4" creationId="{BADA00A4-E7B0-9B6C-320C-25772A15448A}"/>
          </ac:spMkLst>
        </pc:spChg>
        <pc:spChg chg="add del mod ord">
          <ac:chgData name="Ischanka, Eugen" userId="e4e12248-2210-4459-89e3-acb2dd10c338" providerId="ADAL" clId="{50398678-1125-4921-BC2E-56DEFA904AD2}" dt="2023-11-19T18:51:39.838" v="18732" actId="700"/>
          <ac:spMkLst>
            <pc:docMk/>
            <pc:sldMk cId="2778634486" sldId="389"/>
            <ac:spMk id="5" creationId="{608EF057-F090-D9E6-A7B1-42E0138A6A8A}"/>
          </ac:spMkLst>
        </pc:spChg>
        <pc:spChg chg="add mod ord">
          <ac:chgData name="Ischanka, Eugen" userId="e4e12248-2210-4459-89e3-acb2dd10c338" providerId="ADAL" clId="{50398678-1125-4921-BC2E-56DEFA904AD2}" dt="2023-11-19T18:52:05.736" v="18767" actId="403"/>
          <ac:spMkLst>
            <pc:docMk/>
            <pc:sldMk cId="2778634486" sldId="389"/>
            <ac:spMk id="6" creationId="{ABDA3328-FEB3-FC71-D046-22172F7EEFB1}"/>
          </ac:spMkLst>
        </pc:spChg>
        <pc:spChg chg="add mod ord">
          <ac:chgData name="Ischanka, Eugen" userId="e4e12248-2210-4459-89e3-acb2dd10c338" providerId="ADAL" clId="{50398678-1125-4921-BC2E-56DEFA904AD2}" dt="2023-11-19T18:51:45.666" v="18733" actId="20577"/>
          <ac:spMkLst>
            <pc:docMk/>
            <pc:sldMk cId="2778634486" sldId="389"/>
            <ac:spMk id="7" creationId="{CC4B5337-A5D9-150A-D430-B58C8D751EAD}"/>
          </ac:spMkLst>
        </pc:spChg>
      </pc:sldChg>
      <pc:sldChg chg="modSp new mod">
        <pc:chgData name="Ischanka, Eugen" userId="e4e12248-2210-4459-89e3-acb2dd10c338" providerId="ADAL" clId="{50398678-1125-4921-BC2E-56DEFA904AD2}" dt="2023-11-19T20:09:36.241" v="19064" actId="20577"/>
        <pc:sldMkLst>
          <pc:docMk/>
          <pc:sldMk cId="2581716097" sldId="390"/>
        </pc:sldMkLst>
        <pc:spChg chg="mod">
          <ac:chgData name="Ischanka, Eugen" userId="e4e12248-2210-4459-89e3-acb2dd10c338" providerId="ADAL" clId="{50398678-1125-4921-BC2E-56DEFA904AD2}" dt="2023-11-19T20:09:36.241" v="19064" actId="20577"/>
          <ac:spMkLst>
            <pc:docMk/>
            <pc:sldMk cId="2581716097" sldId="390"/>
            <ac:spMk id="2" creationId="{6073C748-45F2-B07B-E49D-58593411CCAF}"/>
          </ac:spMkLst>
        </pc:spChg>
        <pc:spChg chg="mod">
          <ac:chgData name="Ischanka, Eugen" userId="e4e12248-2210-4459-89e3-acb2dd10c338" providerId="ADAL" clId="{50398678-1125-4921-BC2E-56DEFA904AD2}" dt="2023-11-19T20:09:12.381" v="19036" actId="20577"/>
          <ac:spMkLst>
            <pc:docMk/>
            <pc:sldMk cId="2581716097" sldId="390"/>
            <ac:spMk id="3" creationId="{D58A7FCE-9263-DE0C-8C00-A9BBDF2056E1}"/>
          </ac:spMkLst>
        </pc:spChg>
      </pc:sldChg>
      <pc:sldChg chg="addSp delSp modSp new mod modClrScheme chgLayout">
        <pc:chgData name="Ischanka, Eugen" userId="e4e12248-2210-4459-89e3-acb2dd10c338" providerId="ADAL" clId="{50398678-1125-4921-BC2E-56DEFA904AD2}" dt="2023-11-20T16:51:50.208" v="25702" actId="27918"/>
        <pc:sldMkLst>
          <pc:docMk/>
          <pc:sldMk cId="2572988039" sldId="391"/>
        </pc:sldMkLst>
        <pc:spChg chg="del mod ord">
          <ac:chgData name="Ischanka, Eugen" userId="e4e12248-2210-4459-89e3-acb2dd10c338" providerId="ADAL" clId="{50398678-1125-4921-BC2E-56DEFA904AD2}" dt="2023-11-19T20:09:43.793" v="19066" actId="700"/>
          <ac:spMkLst>
            <pc:docMk/>
            <pc:sldMk cId="2572988039" sldId="391"/>
            <ac:spMk id="2" creationId="{6922931C-7C2E-8B09-2390-FD0F1161D75C}"/>
          </ac:spMkLst>
        </pc:spChg>
        <pc:spChg chg="add mod">
          <ac:chgData name="Ischanka, Eugen" userId="e4e12248-2210-4459-89e3-acb2dd10c338" providerId="ADAL" clId="{50398678-1125-4921-BC2E-56DEFA904AD2}" dt="2023-11-20T09:26:50.052" v="23760" actId="2085"/>
          <ac:spMkLst>
            <pc:docMk/>
            <pc:sldMk cId="2572988039" sldId="391"/>
            <ac:spMk id="2" creationId="{9D97BA14-C507-23BF-FA8C-D4FECC856365}"/>
          </ac:spMkLst>
        </pc:spChg>
        <pc:spChg chg="del mod ord">
          <ac:chgData name="Ischanka, Eugen" userId="e4e12248-2210-4459-89e3-acb2dd10c338" providerId="ADAL" clId="{50398678-1125-4921-BC2E-56DEFA904AD2}" dt="2023-11-19T20:09:43.793" v="19066" actId="700"/>
          <ac:spMkLst>
            <pc:docMk/>
            <pc:sldMk cId="2572988039" sldId="391"/>
            <ac:spMk id="3" creationId="{8769328A-E5FA-47E1-E3B1-92CB8168C972}"/>
          </ac:spMkLst>
        </pc:spChg>
        <pc:spChg chg="add mod ord">
          <ac:chgData name="Ischanka, Eugen" userId="e4e12248-2210-4459-89e3-acb2dd10c338" providerId="ADAL" clId="{50398678-1125-4921-BC2E-56DEFA904AD2}" dt="2023-11-20T07:00:02.320" v="21525" actId="20577"/>
          <ac:spMkLst>
            <pc:docMk/>
            <pc:sldMk cId="2572988039" sldId="391"/>
            <ac:spMk id="4" creationId="{C81B574A-4342-7976-27F1-0A7B9E779E85}"/>
          </ac:spMkLst>
        </pc:spChg>
        <pc:spChg chg="add mod ord">
          <ac:chgData name="Ischanka, Eugen" userId="e4e12248-2210-4459-89e3-acb2dd10c338" providerId="ADAL" clId="{50398678-1125-4921-BC2E-56DEFA904AD2}" dt="2023-11-20T07:47:09.089" v="22817" actId="404"/>
          <ac:spMkLst>
            <pc:docMk/>
            <pc:sldMk cId="2572988039" sldId="391"/>
            <ac:spMk id="5" creationId="{700A4A9F-8590-FEEB-D2C4-FBD631F0C1AA}"/>
          </ac:spMkLst>
        </pc:spChg>
        <pc:spChg chg="add mod ord">
          <ac:chgData name="Ischanka, Eugen" userId="e4e12248-2210-4459-89e3-acb2dd10c338" providerId="ADAL" clId="{50398678-1125-4921-BC2E-56DEFA904AD2}" dt="2023-11-19T20:10:04.611" v="19067"/>
          <ac:spMkLst>
            <pc:docMk/>
            <pc:sldMk cId="2572988039" sldId="391"/>
            <ac:spMk id="6" creationId="{D7D0F84A-F451-5786-0579-7050A9E10DA6}"/>
          </ac:spMkLst>
        </pc:spChg>
        <pc:spChg chg="add del mod">
          <ac:chgData name="Ischanka, Eugen" userId="e4e12248-2210-4459-89e3-acb2dd10c338" providerId="ADAL" clId="{50398678-1125-4921-BC2E-56DEFA904AD2}" dt="2023-11-20T07:43:44.703" v="22794" actId="478"/>
          <ac:spMkLst>
            <pc:docMk/>
            <pc:sldMk cId="2572988039" sldId="391"/>
            <ac:spMk id="7" creationId="{6FAAA5BD-ACD9-2EAD-2F93-6C624AA1628D}"/>
          </ac:spMkLst>
        </pc:spChg>
        <pc:spChg chg="add del mod">
          <ac:chgData name="Ischanka, Eugen" userId="e4e12248-2210-4459-89e3-acb2dd10c338" providerId="ADAL" clId="{50398678-1125-4921-BC2E-56DEFA904AD2}" dt="2023-11-20T08:55:02.263" v="23237" actId="478"/>
          <ac:spMkLst>
            <pc:docMk/>
            <pc:sldMk cId="2572988039" sldId="391"/>
            <ac:spMk id="8" creationId="{03C1BA03-88C4-EF3F-7B37-80FA3DC956DA}"/>
          </ac:spMkLst>
        </pc:spChg>
        <pc:spChg chg="add del mod">
          <ac:chgData name="Ischanka, Eugen" userId="e4e12248-2210-4459-89e3-acb2dd10c338" providerId="ADAL" clId="{50398678-1125-4921-BC2E-56DEFA904AD2}" dt="2023-11-20T08:52:03.173" v="23185" actId="478"/>
          <ac:spMkLst>
            <pc:docMk/>
            <pc:sldMk cId="2572988039" sldId="391"/>
            <ac:spMk id="9" creationId="{4C626F50-9144-CEB8-7E72-EF3C761B2FE5}"/>
          </ac:spMkLst>
        </pc:spChg>
        <pc:spChg chg="add del mod">
          <ac:chgData name="Ischanka, Eugen" userId="e4e12248-2210-4459-89e3-acb2dd10c338" providerId="ADAL" clId="{50398678-1125-4921-BC2E-56DEFA904AD2}" dt="2023-11-20T09:16:54.022" v="23486" actId="478"/>
          <ac:spMkLst>
            <pc:docMk/>
            <pc:sldMk cId="2572988039" sldId="391"/>
            <ac:spMk id="13" creationId="{6DC845E2-B2AD-52D0-50E1-700E23011C05}"/>
          </ac:spMkLst>
        </pc:spChg>
        <pc:graphicFrameChg chg="add mod modGraphic">
          <ac:chgData name="Ischanka, Eugen" userId="e4e12248-2210-4459-89e3-acb2dd10c338" providerId="ADAL" clId="{50398678-1125-4921-BC2E-56DEFA904AD2}" dt="2023-11-20T08:56:51.990" v="23282" actId="20577"/>
          <ac:graphicFrameMkLst>
            <pc:docMk/>
            <pc:sldMk cId="2572988039" sldId="391"/>
            <ac:graphicFrameMk id="10" creationId="{BAAFC82F-40D1-A98C-27CF-47E30855B6BF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20T09:01:23.154" v="23303" actId="478"/>
          <ac:graphicFrameMkLst>
            <pc:docMk/>
            <pc:sldMk cId="2572988039" sldId="391"/>
            <ac:graphicFrameMk id="11" creationId="{D8B27654-AF74-E256-5282-63311A0A7848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09:11:14.656" v="23481" actId="14100"/>
          <ac:graphicFrameMkLst>
            <pc:docMk/>
            <pc:sldMk cId="2572988039" sldId="391"/>
            <ac:graphicFrameMk id="12" creationId="{D8B27654-AF74-E256-5282-63311A0A7848}"/>
          </ac:graphicFrameMkLst>
        </pc:graphicFrameChg>
      </pc:sldChg>
      <pc:sldChg chg="modSp add mod ord">
        <pc:chgData name="Ischanka, Eugen" userId="e4e12248-2210-4459-89e3-acb2dd10c338" providerId="ADAL" clId="{50398678-1125-4921-BC2E-56DEFA904AD2}" dt="2023-11-20T16:57:55.129" v="25938" actId="20577"/>
        <pc:sldMkLst>
          <pc:docMk/>
          <pc:sldMk cId="1242065525" sldId="392"/>
        </pc:sldMkLst>
        <pc:spChg chg="mod">
          <ac:chgData name="Ischanka, Eugen" userId="e4e12248-2210-4459-89e3-acb2dd10c338" providerId="ADAL" clId="{50398678-1125-4921-BC2E-56DEFA904AD2}" dt="2023-11-20T06:51:45.323" v="20756" actId="20577"/>
          <ac:spMkLst>
            <pc:docMk/>
            <pc:sldMk cId="1242065525" sldId="392"/>
            <ac:spMk id="4" creationId="{C81B574A-4342-7976-27F1-0A7B9E779E85}"/>
          </ac:spMkLst>
        </pc:spChg>
        <pc:spChg chg="mod">
          <ac:chgData name="Ischanka, Eugen" userId="e4e12248-2210-4459-89e3-acb2dd10c338" providerId="ADAL" clId="{50398678-1125-4921-BC2E-56DEFA904AD2}" dt="2023-11-20T16:57:55.129" v="25938" actId="20577"/>
          <ac:spMkLst>
            <pc:docMk/>
            <pc:sldMk cId="1242065525" sldId="392"/>
            <ac:spMk id="5" creationId="{700A4A9F-8590-FEEB-D2C4-FBD631F0C1AA}"/>
          </ac:spMkLst>
        </pc:spChg>
      </pc:sldChg>
      <pc:sldChg chg="new del">
        <pc:chgData name="Ischanka, Eugen" userId="e4e12248-2210-4459-89e3-acb2dd10c338" providerId="ADAL" clId="{50398678-1125-4921-BC2E-56DEFA904AD2}" dt="2023-11-19T20:11:43.981" v="19151" actId="47"/>
        <pc:sldMkLst>
          <pc:docMk/>
          <pc:sldMk cId="3519783599" sldId="392"/>
        </pc:sldMkLst>
      </pc:sldChg>
      <pc:sldChg chg="new del">
        <pc:chgData name="Ischanka, Eugen" userId="e4e12248-2210-4459-89e3-acb2dd10c338" providerId="ADAL" clId="{50398678-1125-4921-BC2E-56DEFA904AD2}" dt="2023-11-20T10:50:57.835" v="24170" actId="47"/>
        <pc:sldMkLst>
          <pc:docMk/>
          <pc:sldMk cId="1858676559" sldId="393"/>
        </pc:sldMkLst>
      </pc:sldChg>
      <pc:sldChg chg="modSp new del mod">
        <pc:chgData name="Ischanka, Eugen" userId="e4e12248-2210-4459-89e3-acb2dd10c338" providerId="ADAL" clId="{50398678-1125-4921-BC2E-56DEFA904AD2}" dt="2023-11-20T15:41:38.308" v="24952" actId="47"/>
        <pc:sldMkLst>
          <pc:docMk/>
          <pc:sldMk cId="1148643612" sldId="394"/>
        </pc:sldMkLst>
        <pc:spChg chg="mod">
          <ac:chgData name="Ischanka, Eugen" userId="e4e12248-2210-4459-89e3-acb2dd10c338" providerId="ADAL" clId="{50398678-1125-4921-BC2E-56DEFA904AD2}" dt="2023-11-20T08:32:31.234" v="23098" actId="404"/>
          <ac:spMkLst>
            <pc:docMk/>
            <pc:sldMk cId="1148643612" sldId="394"/>
            <ac:spMk id="2" creationId="{BA126AFE-6E5F-A4FC-2642-109E41F1766D}"/>
          </ac:spMkLst>
        </pc:spChg>
        <pc:spChg chg="mod">
          <ac:chgData name="Ischanka, Eugen" userId="e4e12248-2210-4459-89e3-acb2dd10c338" providerId="ADAL" clId="{50398678-1125-4921-BC2E-56DEFA904AD2}" dt="2023-11-20T08:31:45.351" v="23026" actId="20577"/>
          <ac:spMkLst>
            <pc:docMk/>
            <pc:sldMk cId="1148643612" sldId="394"/>
            <ac:spMk id="3" creationId="{0E9D2534-F96B-A8B1-3B5F-7230583D718F}"/>
          </ac:spMkLst>
        </pc:spChg>
        <pc:spChg chg="mod">
          <ac:chgData name="Ischanka, Eugen" userId="e4e12248-2210-4459-89e3-acb2dd10c338" providerId="ADAL" clId="{50398678-1125-4921-BC2E-56DEFA904AD2}" dt="2023-11-20T08:31:29.443" v="23002"/>
          <ac:spMkLst>
            <pc:docMk/>
            <pc:sldMk cId="1148643612" sldId="394"/>
            <ac:spMk id="4" creationId="{57B75B0B-FEA3-B1E2-F6C8-EFB0E1F44374}"/>
          </ac:spMkLst>
        </pc:spChg>
      </pc:sldChg>
      <pc:sldChg chg="modSp new del mod">
        <pc:chgData name="Ischanka, Eugen" userId="e4e12248-2210-4459-89e3-acb2dd10c338" providerId="ADAL" clId="{50398678-1125-4921-BC2E-56DEFA904AD2}" dt="2023-11-20T08:34:51.216" v="23109" actId="47"/>
        <pc:sldMkLst>
          <pc:docMk/>
          <pc:sldMk cId="3005315463" sldId="395"/>
        </pc:sldMkLst>
        <pc:spChg chg="mod">
          <ac:chgData name="Ischanka, Eugen" userId="e4e12248-2210-4459-89e3-acb2dd10c338" providerId="ADAL" clId="{50398678-1125-4921-BC2E-56DEFA904AD2}" dt="2023-11-20T08:33:03.493" v="23104"/>
          <ac:spMkLst>
            <pc:docMk/>
            <pc:sldMk cId="3005315463" sldId="395"/>
            <ac:spMk id="3" creationId="{8F1DDAB0-7AE1-4BEE-35FF-68452F959991}"/>
          </ac:spMkLst>
        </pc:spChg>
        <pc:spChg chg="mod">
          <ac:chgData name="Ischanka, Eugen" userId="e4e12248-2210-4459-89e3-acb2dd10c338" providerId="ADAL" clId="{50398678-1125-4921-BC2E-56DEFA904AD2}" dt="2023-11-20T08:33:03.014" v="23103"/>
          <ac:spMkLst>
            <pc:docMk/>
            <pc:sldMk cId="3005315463" sldId="395"/>
            <ac:spMk id="4" creationId="{796DE3E8-F0D8-5865-4C83-DF043CBD685B}"/>
          </ac:spMkLst>
        </pc:spChg>
      </pc:sldChg>
      <pc:sldChg chg="modSp add del mod">
        <pc:chgData name="Ischanka, Eugen" userId="e4e12248-2210-4459-89e3-acb2dd10c338" providerId="ADAL" clId="{50398678-1125-4921-BC2E-56DEFA904AD2}" dt="2023-11-20T14:29:46.012" v="24756" actId="47"/>
        <pc:sldMkLst>
          <pc:docMk/>
          <pc:sldMk cId="3177381797" sldId="396"/>
        </pc:sldMkLst>
        <pc:spChg chg="mod">
          <ac:chgData name="Ischanka, Eugen" userId="e4e12248-2210-4459-89e3-acb2dd10c338" providerId="ADAL" clId="{50398678-1125-4921-BC2E-56DEFA904AD2}" dt="2023-11-20T08:35:09.212" v="23132" actId="20577"/>
          <ac:spMkLst>
            <pc:docMk/>
            <pc:sldMk cId="3177381797" sldId="396"/>
            <ac:spMk id="3" creationId="{0E9D2534-F96B-A8B1-3B5F-7230583D718F}"/>
          </ac:spMkLst>
        </pc:spChg>
      </pc:sldChg>
      <pc:sldChg chg="add del">
        <pc:chgData name="Ischanka, Eugen" userId="e4e12248-2210-4459-89e3-acb2dd10c338" providerId="ADAL" clId="{50398678-1125-4921-BC2E-56DEFA904AD2}" dt="2023-11-20T08:33:03.910" v="23105"/>
        <pc:sldMkLst>
          <pc:docMk/>
          <pc:sldMk cId="4175461731" sldId="396"/>
        </pc:sldMkLst>
      </pc:sldChg>
      <pc:sldChg chg="addSp delSp modSp add mod">
        <pc:chgData name="Ischanka, Eugen" userId="e4e12248-2210-4459-89e3-acb2dd10c338" providerId="ADAL" clId="{50398678-1125-4921-BC2E-56DEFA904AD2}" dt="2023-11-20T16:51:50.213" v="25703" actId="27918"/>
        <pc:sldMkLst>
          <pc:docMk/>
          <pc:sldMk cId="1582316385" sldId="397"/>
        </pc:sldMkLst>
        <pc:spChg chg="add del">
          <ac:chgData name="Ischanka, Eugen" userId="e4e12248-2210-4459-89e3-acb2dd10c338" providerId="ADAL" clId="{50398678-1125-4921-BC2E-56DEFA904AD2}" dt="2023-11-20T08:54:34.632" v="23231" actId="478"/>
          <ac:spMkLst>
            <pc:docMk/>
            <pc:sldMk cId="1582316385" sldId="397"/>
            <ac:spMk id="2" creationId="{9D97BA14-C507-23BF-FA8C-D4FECC856365}"/>
          </ac:spMkLst>
        </pc:spChg>
        <pc:spChg chg="add mod">
          <ac:chgData name="Ischanka, Eugen" userId="e4e12248-2210-4459-89e3-acb2dd10c338" providerId="ADAL" clId="{50398678-1125-4921-BC2E-56DEFA904AD2}" dt="2023-11-20T10:50:03.315" v="24169" actId="1076"/>
          <ac:spMkLst>
            <pc:docMk/>
            <pc:sldMk cId="1582316385" sldId="397"/>
            <ac:spMk id="3" creationId="{B188BE0F-7AED-3FAE-8A86-C6DDAE07A9D2}"/>
          </ac:spMkLst>
        </pc:spChg>
        <pc:spChg chg="mod">
          <ac:chgData name="Ischanka, Eugen" userId="e4e12248-2210-4459-89e3-acb2dd10c338" providerId="ADAL" clId="{50398678-1125-4921-BC2E-56DEFA904AD2}" dt="2023-11-20T09:26:45.225" v="23759" actId="2085"/>
          <ac:spMkLst>
            <pc:docMk/>
            <pc:sldMk cId="1582316385" sldId="397"/>
            <ac:spMk id="8" creationId="{03C1BA03-88C4-EF3F-7B37-80FA3DC956DA}"/>
          </ac:spMkLst>
        </pc:spChg>
        <pc:spChg chg="add mod">
          <ac:chgData name="Ischanka, Eugen" userId="e4e12248-2210-4459-89e3-acb2dd10c338" providerId="ADAL" clId="{50398678-1125-4921-BC2E-56DEFA904AD2}" dt="2023-11-20T10:36:43.386" v="24160" actId="1076"/>
          <ac:spMkLst>
            <pc:docMk/>
            <pc:sldMk cId="1582316385" sldId="397"/>
            <ac:spMk id="9" creationId="{1C24FA4A-0D3E-A23B-BE14-ED849620809C}"/>
          </ac:spMkLst>
        </pc:spChg>
        <pc:graphicFrameChg chg="add mod">
          <ac:chgData name="Ischanka, Eugen" userId="e4e12248-2210-4459-89e3-acb2dd10c338" providerId="ADAL" clId="{50398678-1125-4921-BC2E-56DEFA904AD2}" dt="2023-11-20T10:36:35.526" v="24159"/>
          <ac:graphicFrameMkLst>
            <pc:docMk/>
            <pc:sldMk cId="1582316385" sldId="397"/>
            <ac:graphicFrameMk id="7" creationId="{FB78A373-238C-40DF-A648-AEB6307DE6D3}"/>
          </ac:graphicFrameMkLst>
        </pc:graphicFrameChg>
        <pc:graphicFrameChg chg="modGraphic">
          <ac:chgData name="Ischanka, Eugen" userId="e4e12248-2210-4459-89e3-acb2dd10c338" providerId="ADAL" clId="{50398678-1125-4921-BC2E-56DEFA904AD2}" dt="2023-11-20T10:33:38.865" v="24135" actId="20577"/>
          <ac:graphicFrameMkLst>
            <pc:docMk/>
            <pc:sldMk cId="1582316385" sldId="397"/>
            <ac:graphicFrameMk id="10" creationId="{BAAFC82F-40D1-A98C-27CF-47E30855B6BF}"/>
          </ac:graphicFrameMkLst>
        </pc:graphicFrameChg>
      </pc:sldChg>
      <pc:sldChg chg="modSp new del mod">
        <pc:chgData name="Ischanka, Eugen" userId="e4e12248-2210-4459-89e3-acb2dd10c338" providerId="ADAL" clId="{50398678-1125-4921-BC2E-56DEFA904AD2}" dt="2023-11-20T16:56:25.339" v="25743" actId="47"/>
        <pc:sldMkLst>
          <pc:docMk/>
          <pc:sldMk cId="1265829489" sldId="398"/>
        </pc:sldMkLst>
        <pc:spChg chg="mod">
          <ac:chgData name="Ischanka, Eugen" userId="e4e12248-2210-4459-89e3-acb2dd10c338" providerId="ADAL" clId="{50398678-1125-4921-BC2E-56DEFA904AD2}" dt="2023-11-20T13:51:27.116" v="24753" actId="20577"/>
          <ac:spMkLst>
            <pc:docMk/>
            <pc:sldMk cId="1265829489" sldId="398"/>
            <ac:spMk id="2" creationId="{B442DCDA-4064-91E5-95D7-7B1777A15EBF}"/>
          </ac:spMkLst>
        </pc:spChg>
        <pc:spChg chg="mod">
          <ac:chgData name="Ischanka, Eugen" userId="e4e12248-2210-4459-89e3-acb2dd10c338" providerId="ADAL" clId="{50398678-1125-4921-BC2E-56DEFA904AD2}" dt="2023-11-20T09:29:02.237" v="23879" actId="20577"/>
          <ac:spMkLst>
            <pc:docMk/>
            <pc:sldMk cId="1265829489" sldId="398"/>
            <ac:spMk id="3" creationId="{096C3434-175A-C618-CEEF-FA585CF07F8D}"/>
          </ac:spMkLst>
        </pc:spChg>
        <pc:spChg chg="mod">
          <ac:chgData name="Ischanka, Eugen" userId="e4e12248-2210-4459-89e3-acb2dd10c338" providerId="ADAL" clId="{50398678-1125-4921-BC2E-56DEFA904AD2}" dt="2023-11-20T09:28:49.415" v="23834"/>
          <ac:spMkLst>
            <pc:docMk/>
            <pc:sldMk cId="1265829489" sldId="398"/>
            <ac:spMk id="4" creationId="{FC7B8DA3-C1BC-06D9-8A68-BBB1E7769551}"/>
          </ac:spMkLst>
        </pc:spChg>
      </pc:sldChg>
      <pc:sldChg chg="add del">
        <pc:chgData name="Ischanka, Eugen" userId="e4e12248-2210-4459-89e3-acb2dd10c338" providerId="ADAL" clId="{50398678-1125-4921-BC2E-56DEFA904AD2}" dt="2023-11-20T09:27:04.497" v="23761" actId="47"/>
        <pc:sldMkLst>
          <pc:docMk/>
          <pc:sldMk cId="4058642412" sldId="398"/>
        </pc:sldMkLst>
      </pc:sldChg>
      <pc:sldChg chg="delSp add del mod">
        <pc:chgData name="Ischanka, Eugen" userId="e4e12248-2210-4459-89e3-acb2dd10c338" providerId="ADAL" clId="{50398678-1125-4921-BC2E-56DEFA904AD2}" dt="2023-11-20T16:10:57.658" v="25125" actId="47"/>
        <pc:sldMkLst>
          <pc:docMk/>
          <pc:sldMk cId="734558510" sldId="399"/>
        </pc:sldMkLst>
        <pc:graphicFrameChg chg="del">
          <ac:chgData name="Ischanka, Eugen" userId="e4e12248-2210-4459-89e3-acb2dd10c338" providerId="ADAL" clId="{50398678-1125-4921-BC2E-56DEFA904AD2}" dt="2023-11-20T16:10:24.177" v="25124" actId="478"/>
          <ac:graphicFrameMkLst>
            <pc:docMk/>
            <pc:sldMk cId="734558510" sldId="399"/>
            <ac:graphicFrameMk id="2" creationId="{BBE54F64-FFC1-4948-E1A5-53E5EB292D73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20T09:40:36.663" v="23882" actId="47"/>
        <pc:sldMkLst>
          <pc:docMk/>
          <pc:sldMk cId="1335495410" sldId="399"/>
        </pc:sldMkLst>
      </pc:sldChg>
      <pc:sldChg chg="addSp delSp modSp new del mod">
        <pc:chgData name="Ischanka, Eugen" userId="e4e12248-2210-4459-89e3-acb2dd10c338" providerId="ADAL" clId="{50398678-1125-4921-BC2E-56DEFA904AD2}" dt="2023-11-20T10:59:25.978" v="24175" actId="47"/>
        <pc:sldMkLst>
          <pc:docMk/>
          <pc:sldMk cId="1439591215" sldId="399"/>
        </pc:sldMkLst>
        <pc:spChg chg="del">
          <ac:chgData name="Ischanka, Eugen" userId="e4e12248-2210-4459-89e3-acb2dd10c338" providerId="ADAL" clId="{50398678-1125-4921-BC2E-56DEFA904AD2}" dt="2023-11-20T10:59:04.313" v="24173"/>
          <ac:spMkLst>
            <pc:docMk/>
            <pc:sldMk cId="1439591215" sldId="399"/>
            <ac:spMk id="2" creationId="{759FCED5-FE5A-3103-1109-63CB15431B1B}"/>
          </ac:spMkLst>
        </pc:spChg>
        <pc:spChg chg="add mod">
          <ac:chgData name="Ischanka, Eugen" userId="e4e12248-2210-4459-89e3-acb2dd10c338" providerId="ADAL" clId="{50398678-1125-4921-BC2E-56DEFA904AD2}" dt="2023-11-20T10:59:23.217" v="24174" actId="478"/>
          <ac:spMkLst>
            <pc:docMk/>
            <pc:sldMk cId="1439591215" sldId="399"/>
            <ac:spMk id="7" creationId="{836BEEF0-AA16-997D-9AC0-2E478D014D77}"/>
          </ac:spMkLst>
        </pc:spChg>
        <pc:graphicFrameChg chg="add del mod">
          <ac:chgData name="Ischanka, Eugen" userId="e4e12248-2210-4459-89e3-acb2dd10c338" providerId="ADAL" clId="{50398678-1125-4921-BC2E-56DEFA904AD2}" dt="2023-11-20T10:59:23.217" v="24174" actId="478"/>
          <ac:graphicFrameMkLst>
            <pc:docMk/>
            <pc:sldMk cId="1439591215" sldId="399"/>
            <ac:graphicFrameMk id="5" creationId="{5FD23847-53E3-5CEC-76A7-DA6FE289151C}"/>
          </ac:graphicFrameMkLst>
        </pc:graphicFrameChg>
      </pc:sldChg>
      <pc:sldChg chg="modSp add del">
        <pc:chgData name="Ischanka, Eugen" userId="e4e12248-2210-4459-89e3-acb2dd10c338" providerId="ADAL" clId="{50398678-1125-4921-BC2E-56DEFA904AD2}" dt="2023-11-20T16:55:15.925" v="25740" actId="47"/>
        <pc:sldMkLst>
          <pc:docMk/>
          <pc:sldMk cId="1834150606" sldId="399"/>
        </pc:sldMkLst>
        <pc:graphicFrameChg chg="mod">
          <ac:chgData name="Ischanka, Eugen" userId="e4e12248-2210-4459-89e3-acb2dd10c338" providerId="ADAL" clId="{50398678-1125-4921-BC2E-56DEFA904AD2}" dt="2023-11-20T16:54:59.454" v="25738" actId="20577"/>
          <ac:graphicFrameMkLst>
            <pc:docMk/>
            <pc:sldMk cId="1834150606" sldId="399"/>
            <ac:graphicFrameMk id="16" creationId="{E456E338-D3C3-3CC2-F712-450792C52A86}"/>
          </ac:graphicFrameMkLst>
        </pc:graphicFrameChg>
      </pc:sldChg>
      <pc:sldChg chg="add del">
        <pc:chgData name="Ischanka, Eugen" userId="e4e12248-2210-4459-89e3-acb2dd10c338" providerId="ADAL" clId="{50398678-1125-4921-BC2E-56DEFA904AD2}" dt="2023-11-20T16:14:18.637" v="25140" actId="47"/>
        <pc:sldMkLst>
          <pc:docMk/>
          <pc:sldMk cId="2239605687" sldId="399"/>
        </pc:sldMkLst>
      </pc:sldChg>
      <pc:sldChg chg="add del">
        <pc:chgData name="Ischanka, Eugen" userId="e4e12248-2210-4459-89e3-acb2dd10c338" providerId="ADAL" clId="{50398678-1125-4921-BC2E-56DEFA904AD2}" dt="2023-11-20T16:22:45.797" v="25253" actId="47"/>
        <pc:sldMkLst>
          <pc:docMk/>
          <pc:sldMk cId="2798509876" sldId="399"/>
        </pc:sldMkLst>
      </pc:sldChg>
    </pc:docChg>
  </pc:docChgLst>
  <pc:docChgLst>
    <pc:chgData name="Karkaba, Ali" userId="S::a.karkaba@gebhardt-group.com::fa222b13-d879-44b1-af5a-d37867fdb466" providerId="AD" clId="Web-{9E9C4DD4-504C-45AB-A347-5C81D0FA3B49}"/>
    <pc:docChg chg="modSld">
      <pc:chgData name="Karkaba, Ali" userId="S::a.karkaba@gebhardt-group.com::fa222b13-d879-44b1-af5a-d37867fdb466" providerId="AD" clId="Web-{9E9C4DD4-504C-45AB-A347-5C81D0FA3B49}" dt="2023-11-06T11:06:36.575" v="17" actId="1076"/>
      <pc:docMkLst>
        <pc:docMk/>
      </pc:docMkLst>
      <pc:sldChg chg="addSp delSp modSp">
        <pc:chgData name="Karkaba, Ali" userId="S::a.karkaba@gebhardt-group.com::fa222b13-d879-44b1-af5a-d37867fdb466" providerId="AD" clId="Web-{9E9C4DD4-504C-45AB-A347-5C81D0FA3B49}" dt="2023-11-06T11:05:42.043" v="9" actId="1076"/>
        <pc:sldMkLst>
          <pc:docMk/>
          <pc:sldMk cId="3972424466" sldId="326"/>
        </pc:sldMkLst>
        <pc:picChg chg="add mod">
          <ac:chgData name="Karkaba, Ali" userId="S::a.karkaba@gebhardt-group.com::fa222b13-d879-44b1-af5a-d37867fdb466" providerId="AD" clId="Web-{9E9C4DD4-504C-45AB-A347-5C81D0FA3B49}" dt="2023-11-06T11:05:18.558" v="3" actId="1076"/>
          <ac:picMkLst>
            <pc:docMk/>
            <pc:sldMk cId="3972424466" sldId="326"/>
            <ac:picMk id="5" creationId="{D8B83419-C30A-708C-7155-494043913201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5:05.605" v="0"/>
          <ac:picMkLst>
            <pc:docMk/>
            <pc:sldMk cId="3972424466" sldId="326"/>
            <ac:picMk id="7" creationId="{E7781A37-0533-BE87-62A9-01DCCF67C301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5:31.527" v="4"/>
          <ac:picMkLst>
            <pc:docMk/>
            <pc:sldMk cId="3972424466" sldId="326"/>
            <ac:picMk id="8" creationId="{14851895-8D23-86DB-001A-F45DEE3B18A9}"/>
          </ac:picMkLst>
        </pc:picChg>
        <pc:picChg chg="add mod">
          <ac:chgData name="Karkaba, Ali" userId="S::a.karkaba@gebhardt-group.com::fa222b13-d879-44b1-af5a-d37867fdb466" providerId="AD" clId="Web-{9E9C4DD4-504C-45AB-A347-5C81D0FA3B49}" dt="2023-11-06T11:05:42.043" v="9" actId="1076"/>
          <ac:picMkLst>
            <pc:docMk/>
            <pc:sldMk cId="3972424466" sldId="326"/>
            <ac:picMk id="9" creationId="{68B9B1D5-6578-E8E4-C8DA-05C620338AE7}"/>
          </ac:picMkLst>
        </pc:picChg>
      </pc:sldChg>
      <pc:sldChg chg="addSp delSp modSp">
        <pc:chgData name="Karkaba, Ali" userId="S::a.karkaba@gebhardt-group.com::fa222b13-d879-44b1-af5a-d37867fdb466" providerId="AD" clId="Web-{9E9C4DD4-504C-45AB-A347-5C81D0FA3B49}" dt="2023-11-06T11:06:36.575" v="17" actId="1076"/>
        <pc:sldMkLst>
          <pc:docMk/>
          <pc:sldMk cId="2091844764" sldId="331"/>
        </pc:sldMkLst>
        <pc:picChg chg="add mod">
          <ac:chgData name="Karkaba, Ali" userId="S::a.karkaba@gebhardt-group.com::fa222b13-d879-44b1-af5a-d37867fdb466" providerId="AD" clId="Web-{9E9C4DD4-504C-45AB-A347-5C81D0FA3B49}" dt="2023-11-06T11:06:19.466" v="13" actId="1076"/>
          <ac:picMkLst>
            <pc:docMk/>
            <pc:sldMk cId="2091844764" sldId="331"/>
            <ac:picMk id="5" creationId="{89AAB23D-520D-A384-C02A-541D84174DBA}"/>
          </ac:picMkLst>
        </pc:picChg>
        <pc:picChg chg="add mod">
          <ac:chgData name="Karkaba, Ali" userId="S::a.karkaba@gebhardt-group.com::fa222b13-d879-44b1-af5a-d37867fdb466" providerId="AD" clId="Web-{9E9C4DD4-504C-45AB-A347-5C81D0FA3B49}" dt="2023-11-06T11:06:36.575" v="17" actId="1076"/>
          <ac:picMkLst>
            <pc:docMk/>
            <pc:sldMk cId="2091844764" sldId="331"/>
            <ac:picMk id="7" creationId="{C921902D-F31E-8C5D-B972-2DDCA7C14BA7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6:20.809" v="14"/>
          <ac:picMkLst>
            <pc:docMk/>
            <pc:sldMk cId="2091844764" sldId="331"/>
            <ac:picMk id="8" creationId="{9E1722A8-C1FB-C05E-76C9-5D7C2EAAED86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5:46.434" v="10"/>
          <ac:picMkLst>
            <pc:docMk/>
            <pc:sldMk cId="2091844764" sldId="331"/>
            <ac:picMk id="10" creationId="{08F56923-1A88-4F0C-B86C-E14F00352FDF}"/>
          </ac:picMkLst>
        </pc:picChg>
      </pc:sldChg>
    </pc:docChg>
  </pc:docChgLst>
  <pc:docChgLst>
    <pc:chgData name="Ischanka, Eugen" userId="e4e12248-2210-4459-89e3-acb2dd10c338" providerId="ADAL" clId="{671D133E-469A-4763-9661-3DED79A05069}"/>
    <pc:docChg chg="undo redo custSel addSld delSld modSld sldOrd modMainMaster addSection delSection modSection">
      <pc:chgData name="Ischanka, Eugen" userId="e4e12248-2210-4459-89e3-acb2dd10c338" providerId="ADAL" clId="{671D133E-469A-4763-9661-3DED79A05069}" dt="2024-01-15T12:55:05.848" v="3657" actId="478"/>
      <pc:docMkLst>
        <pc:docMk/>
      </pc:docMkLst>
      <pc:sldChg chg="add del ord">
        <pc:chgData name="Ischanka, Eugen" userId="e4e12248-2210-4459-89e3-acb2dd10c338" providerId="ADAL" clId="{671D133E-469A-4763-9661-3DED79A05069}" dt="2024-01-09T09:12:30.789" v="3377"/>
        <pc:sldMkLst>
          <pc:docMk/>
          <pc:sldMk cId="879433821" sldId="283"/>
        </pc:sldMkLst>
      </pc:sldChg>
      <pc:sldChg chg="addSp delSp modSp mod">
        <pc:chgData name="Ischanka, Eugen" userId="e4e12248-2210-4459-89e3-acb2dd10c338" providerId="ADAL" clId="{671D133E-469A-4763-9661-3DED79A05069}" dt="2024-01-15T12:50:36.063" v="3560" actId="14100"/>
        <pc:sldMkLst>
          <pc:docMk/>
          <pc:sldMk cId="3371421586" sldId="328"/>
        </pc:sldMkLst>
        <pc:spChg chg="add mod">
          <ac:chgData name="Ischanka, Eugen" userId="e4e12248-2210-4459-89e3-acb2dd10c338" providerId="ADAL" clId="{671D133E-469A-4763-9661-3DED79A05069}" dt="2024-01-15T12:50:36.063" v="3560" actId="14100"/>
          <ac:spMkLst>
            <pc:docMk/>
            <pc:sldMk cId="3371421586" sldId="328"/>
            <ac:spMk id="2" creationId="{9CF9E0C2-F24A-16F1-01C8-FF7B9ECA437D}"/>
          </ac:spMkLst>
        </pc:spChg>
        <pc:spChg chg="mod">
          <ac:chgData name="Ischanka, Eugen" userId="e4e12248-2210-4459-89e3-acb2dd10c338" providerId="ADAL" clId="{671D133E-469A-4763-9661-3DED79A05069}" dt="2024-01-08T08:45:18.701" v="109" actId="20577"/>
          <ac:spMkLst>
            <pc:docMk/>
            <pc:sldMk cId="3371421586" sldId="328"/>
            <ac:spMk id="10" creationId="{B53E254A-21D6-8CA6-5B42-5A255BD3A71C}"/>
          </ac:spMkLst>
        </pc:spChg>
        <pc:spChg chg="mod">
          <ac:chgData name="Ischanka, Eugen" userId="e4e12248-2210-4459-89e3-acb2dd10c338" providerId="ADAL" clId="{671D133E-469A-4763-9661-3DED79A05069}" dt="2024-01-08T08:44:26.131" v="84" actId="13926"/>
          <ac:spMkLst>
            <pc:docMk/>
            <pc:sldMk cId="3371421586" sldId="328"/>
            <ac:spMk id="11" creationId="{4997980C-EDF4-6993-0214-7F325C9B36DC}"/>
          </ac:spMkLst>
        </pc:spChg>
        <pc:picChg chg="del mod">
          <ac:chgData name="Ischanka, Eugen" userId="e4e12248-2210-4459-89e3-acb2dd10c338" providerId="ADAL" clId="{671D133E-469A-4763-9661-3DED79A05069}" dt="2024-01-08T08:45:31.899" v="119" actId="478"/>
          <ac:picMkLst>
            <pc:docMk/>
            <pc:sldMk cId="3371421586" sldId="328"/>
            <ac:picMk id="3" creationId="{42C71BE0-B3B9-6B4A-7254-01A086159ED5}"/>
          </ac:picMkLst>
        </pc:picChg>
      </pc:sldChg>
      <pc:sldChg chg="addSp delSp modSp mod modClrScheme chgLayout">
        <pc:chgData name="Ischanka, Eugen" userId="e4e12248-2210-4459-89e3-acb2dd10c338" providerId="ADAL" clId="{671D133E-469A-4763-9661-3DED79A05069}" dt="2024-01-15T12:55:05.848" v="3657" actId="478"/>
        <pc:sldMkLst>
          <pc:docMk/>
          <pc:sldMk cId="182752618" sldId="340"/>
        </pc:sldMkLst>
        <pc:spChg chg="mod ord">
          <ac:chgData name="Ischanka, Eugen" userId="e4e12248-2210-4459-89e3-acb2dd10c338" providerId="ADAL" clId="{671D133E-469A-4763-9661-3DED79A05069}" dt="2024-01-08T09:56:13.554" v="1378" actId="700"/>
          <ac:spMkLst>
            <pc:docMk/>
            <pc:sldMk cId="182752618" sldId="340"/>
            <ac:spMk id="3" creationId="{0285063C-FDED-09B1-64B1-09F69028E40E}"/>
          </ac:spMkLst>
        </pc:spChg>
        <pc:spChg chg="add del mod ord">
          <ac:chgData name="Ischanka, Eugen" userId="e4e12248-2210-4459-89e3-acb2dd10c338" providerId="ADAL" clId="{671D133E-469A-4763-9661-3DED79A05069}" dt="2024-01-08T09:18:32.330" v="913" actId="478"/>
          <ac:spMkLst>
            <pc:docMk/>
            <pc:sldMk cId="182752618" sldId="340"/>
            <ac:spMk id="4" creationId="{976B4EA6-0120-1B4A-E7FB-DFC163E8F30F}"/>
          </ac:spMkLst>
        </pc:spChg>
        <pc:spChg chg="mod">
          <ac:chgData name="Ischanka, Eugen" userId="e4e12248-2210-4459-89e3-acb2dd10c338" providerId="ADAL" clId="{671D133E-469A-4763-9661-3DED79A05069}" dt="2024-01-08T08:54:07.249" v="302" actId="14100"/>
          <ac:spMkLst>
            <pc:docMk/>
            <pc:sldMk cId="182752618" sldId="340"/>
            <ac:spMk id="5" creationId="{93A99421-2C7D-A384-760F-C2897FD41972}"/>
          </ac:spMkLst>
        </pc:spChg>
        <pc:spChg chg="mod">
          <ac:chgData name="Ischanka, Eugen" userId="e4e12248-2210-4459-89e3-acb2dd10c338" providerId="ADAL" clId="{671D133E-469A-4763-9661-3DED79A05069}" dt="2024-01-08T08:53:59.877" v="301" actId="14100"/>
          <ac:spMkLst>
            <pc:docMk/>
            <pc:sldMk cId="182752618" sldId="340"/>
            <ac:spMk id="6" creationId="{D3F64B94-3AAE-B8D4-D8A5-2E579F09D92D}"/>
          </ac:spMkLst>
        </pc:spChg>
        <pc:spChg chg="mod">
          <ac:chgData name="Ischanka, Eugen" userId="e4e12248-2210-4459-89e3-acb2dd10c338" providerId="ADAL" clId="{671D133E-469A-4763-9661-3DED79A05069}" dt="2024-01-08T08:46:59.284" v="146" actId="13926"/>
          <ac:spMkLst>
            <pc:docMk/>
            <pc:sldMk cId="182752618" sldId="340"/>
            <ac:spMk id="7" creationId="{916F6425-81D9-908B-7295-42F46C993598}"/>
          </ac:spMkLst>
        </pc:spChg>
        <pc:spChg chg="add mod">
          <ac:chgData name="Ischanka, Eugen" userId="e4e12248-2210-4459-89e3-acb2dd10c338" providerId="ADAL" clId="{671D133E-469A-4763-9661-3DED79A05069}" dt="2024-01-08T08:58:13.183" v="482" actId="14100"/>
          <ac:spMkLst>
            <pc:docMk/>
            <pc:sldMk cId="182752618" sldId="340"/>
            <ac:spMk id="8" creationId="{0253547F-7452-52C7-F39A-53CC8FC2672A}"/>
          </ac:spMkLst>
        </pc:spChg>
        <pc:spChg chg="del mod ord">
          <ac:chgData name="Ischanka, Eugen" userId="e4e12248-2210-4459-89e3-acb2dd10c338" providerId="ADAL" clId="{671D133E-469A-4763-9661-3DED79A05069}" dt="2024-01-08T08:52:53.352" v="290" actId="478"/>
          <ac:spMkLst>
            <pc:docMk/>
            <pc:sldMk cId="182752618" sldId="340"/>
            <ac:spMk id="9" creationId="{D3E2409B-1721-6F8D-C7B5-88E975B1A6E1}"/>
          </ac:spMkLst>
        </pc:spChg>
        <pc:spChg chg="add del mod ord">
          <ac:chgData name="Ischanka, Eugen" userId="e4e12248-2210-4459-89e3-acb2dd10c338" providerId="ADAL" clId="{671D133E-469A-4763-9661-3DED79A05069}" dt="2024-01-08T08:52:18.252" v="288" actId="700"/>
          <ac:spMkLst>
            <pc:docMk/>
            <pc:sldMk cId="182752618" sldId="340"/>
            <ac:spMk id="10" creationId="{ECFB7C4C-4614-DA7A-7A8C-CED97A7A6F76}"/>
          </ac:spMkLst>
        </pc:spChg>
        <pc:spChg chg="add del mod ord">
          <ac:chgData name="Ischanka, Eugen" userId="e4e12248-2210-4459-89e3-acb2dd10c338" providerId="ADAL" clId="{671D133E-469A-4763-9661-3DED79A05069}" dt="2024-01-08T08:52:07.926" v="287" actId="700"/>
          <ac:spMkLst>
            <pc:docMk/>
            <pc:sldMk cId="182752618" sldId="340"/>
            <ac:spMk id="11" creationId="{FFAF944C-3C1A-44E9-1F7C-ADA5D54A4A11}"/>
          </ac:spMkLst>
        </pc:spChg>
        <pc:spChg chg="add del mod ord">
          <ac:chgData name="Ischanka, Eugen" userId="e4e12248-2210-4459-89e3-acb2dd10c338" providerId="ADAL" clId="{671D133E-469A-4763-9661-3DED79A05069}" dt="2024-01-08T08:52:07.926" v="287" actId="700"/>
          <ac:spMkLst>
            <pc:docMk/>
            <pc:sldMk cId="182752618" sldId="340"/>
            <ac:spMk id="12" creationId="{038B2BD9-EEFF-3517-E622-ABCC202B0727}"/>
          </ac:spMkLst>
        </pc:spChg>
        <pc:spChg chg="add del mod ord">
          <ac:chgData name="Ischanka, Eugen" userId="e4e12248-2210-4459-89e3-acb2dd10c338" providerId="ADAL" clId="{671D133E-469A-4763-9661-3DED79A05069}" dt="2024-01-08T08:52:07.926" v="287" actId="700"/>
          <ac:spMkLst>
            <pc:docMk/>
            <pc:sldMk cId="182752618" sldId="340"/>
            <ac:spMk id="13" creationId="{16CD4ED7-6AA9-34D9-44AF-46858A4D4E95}"/>
          </ac:spMkLst>
        </pc:spChg>
        <pc:spChg chg="add del mod">
          <ac:chgData name="Ischanka, Eugen" userId="e4e12248-2210-4459-89e3-acb2dd10c338" providerId="ADAL" clId="{671D133E-469A-4763-9661-3DED79A05069}" dt="2024-01-08T08:52:55.785" v="291"/>
          <ac:spMkLst>
            <pc:docMk/>
            <pc:sldMk cId="182752618" sldId="340"/>
            <ac:spMk id="15" creationId="{4D121600-59B8-81A3-7FF9-D8E23EF7725C}"/>
          </ac:spMkLst>
        </pc:spChg>
        <pc:spChg chg="add mod ord">
          <ac:chgData name="Ischanka, Eugen" userId="e4e12248-2210-4459-89e3-acb2dd10c338" providerId="ADAL" clId="{671D133E-469A-4763-9661-3DED79A05069}" dt="2024-01-08T09:56:56.573" v="1387" actId="14100"/>
          <ac:spMkLst>
            <pc:docMk/>
            <pc:sldMk cId="182752618" sldId="340"/>
            <ac:spMk id="16" creationId="{2710F7FC-D59A-DBB1-A271-7F47B739B985}"/>
          </ac:spMkLst>
        </pc:spChg>
        <pc:spChg chg="add del mod">
          <ac:chgData name="Ischanka, Eugen" userId="e4e12248-2210-4459-89e3-acb2dd10c338" providerId="ADAL" clId="{671D133E-469A-4763-9661-3DED79A05069}" dt="2024-01-08T09:56:09.624" v="1377" actId="478"/>
          <ac:spMkLst>
            <pc:docMk/>
            <pc:sldMk cId="182752618" sldId="340"/>
            <ac:spMk id="17" creationId="{FF83C3E6-546E-217A-047B-C645E943B01C}"/>
          </ac:spMkLst>
        </pc:spChg>
        <pc:spChg chg="add del mod">
          <ac:chgData name="Ischanka, Eugen" userId="e4e12248-2210-4459-89e3-acb2dd10c338" providerId="ADAL" clId="{671D133E-469A-4763-9661-3DED79A05069}" dt="2024-01-08T09:26:41.872" v="1368" actId="21"/>
          <ac:spMkLst>
            <pc:docMk/>
            <pc:sldMk cId="182752618" sldId="340"/>
            <ac:spMk id="18" creationId="{7420F17B-079F-A362-2EBA-3D7B4902EB2C}"/>
          </ac:spMkLst>
        </pc:spChg>
        <pc:spChg chg="add del mod">
          <ac:chgData name="Ischanka, Eugen" userId="e4e12248-2210-4459-89e3-acb2dd10c338" providerId="ADAL" clId="{671D133E-469A-4763-9661-3DED79A05069}" dt="2024-01-08T09:22:00.937" v="1261" actId="478"/>
          <ac:spMkLst>
            <pc:docMk/>
            <pc:sldMk cId="182752618" sldId="340"/>
            <ac:spMk id="19" creationId="{74465B57-417F-A569-DAD2-0783521D9DD3}"/>
          </ac:spMkLst>
        </pc:spChg>
        <pc:spChg chg="add mod ord">
          <ac:chgData name="Ischanka, Eugen" userId="e4e12248-2210-4459-89e3-acb2dd10c338" providerId="ADAL" clId="{671D133E-469A-4763-9661-3DED79A05069}" dt="2024-01-08T09:56:13.554" v="1378" actId="700"/>
          <ac:spMkLst>
            <pc:docMk/>
            <pc:sldMk cId="182752618" sldId="340"/>
            <ac:spMk id="20" creationId="{CE4776AB-BCB5-D386-9F09-4E5BED267800}"/>
          </ac:spMkLst>
        </pc:spChg>
        <pc:spChg chg="add mod ord">
          <ac:chgData name="Ischanka, Eugen" userId="e4e12248-2210-4459-89e3-acb2dd10c338" providerId="ADAL" clId="{671D133E-469A-4763-9661-3DED79A05069}" dt="2024-01-08T12:22:36.715" v="2101" actId="207"/>
          <ac:spMkLst>
            <pc:docMk/>
            <pc:sldMk cId="182752618" sldId="340"/>
            <ac:spMk id="21" creationId="{319BCD94-60BB-1B4D-ABE9-58A4B1C1EEEB}"/>
          </ac:spMkLst>
        </pc:spChg>
        <pc:graphicFrameChg chg="add del mod modGraphic">
          <ac:chgData name="Ischanka, Eugen" userId="e4e12248-2210-4459-89e3-acb2dd10c338" providerId="ADAL" clId="{671D133E-469A-4763-9661-3DED79A05069}" dt="2024-01-15T12:55:05.848" v="3657" actId="478"/>
          <ac:graphicFrameMkLst>
            <pc:docMk/>
            <pc:sldMk cId="182752618" sldId="340"/>
            <ac:graphicFrameMk id="2" creationId="{B293A9D2-8ED6-C6B1-5E7D-1136B31CDDDE}"/>
          </ac:graphicFrameMkLst>
        </pc:graphicFrameChg>
        <pc:picChg chg="del">
          <ac:chgData name="Ischanka, Eugen" userId="e4e12248-2210-4459-89e3-acb2dd10c338" providerId="ADAL" clId="{671D133E-469A-4763-9661-3DED79A05069}" dt="2024-01-08T09:00:05.989" v="540" actId="478"/>
          <ac:picMkLst>
            <pc:docMk/>
            <pc:sldMk cId="182752618" sldId="340"/>
            <ac:picMk id="2" creationId="{A91018BA-6746-941A-1681-CD2EC586E6C6}"/>
          </ac:picMkLst>
        </pc:picChg>
      </pc:sldChg>
      <pc:sldChg chg="del">
        <pc:chgData name="Ischanka, Eugen" userId="e4e12248-2210-4459-89e3-acb2dd10c338" providerId="ADAL" clId="{671D133E-469A-4763-9661-3DED79A05069}" dt="2024-01-08T09:08:24.688" v="784" actId="47"/>
        <pc:sldMkLst>
          <pc:docMk/>
          <pc:sldMk cId="460441520" sldId="342"/>
        </pc:sldMkLst>
      </pc:sldChg>
      <pc:sldChg chg="del">
        <pc:chgData name="Ischanka, Eugen" userId="e4e12248-2210-4459-89e3-acb2dd10c338" providerId="ADAL" clId="{671D133E-469A-4763-9661-3DED79A05069}" dt="2024-01-08T09:08:23.387" v="783" actId="47"/>
        <pc:sldMkLst>
          <pc:docMk/>
          <pc:sldMk cId="2899788142" sldId="343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7923318" sldId="344"/>
        </pc:sldMkLst>
        <pc:spChg chg="del">
          <ac:chgData name="Ischanka, Eugen" userId="e4e12248-2210-4459-89e3-acb2dd10c338" providerId="ADAL" clId="{671D133E-469A-4763-9661-3DED79A05069}" dt="2024-01-08T09:13:37.163" v="816" actId="478"/>
          <ac:spMkLst>
            <pc:docMk/>
            <pc:sldMk cId="37923318" sldId="344"/>
            <ac:spMk id="4" creationId="{EC4D51B0-7A2D-8FE6-B170-2824A865A549}"/>
          </ac:spMkLst>
        </pc:spChg>
        <pc:spChg chg="add del mod">
          <ac:chgData name="Ischanka, Eugen" userId="e4e12248-2210-4459-89e3-acb2dd10c338" providerId="ADAL" clId="{671D133E-469A-4763-9661-3DED79A05069}" dt="2024-01-08T09:21:37.983" v="1249" actId="27636"/>
          <ac:spMkLst>
            <pc:docMk/>
            <pc:sldMk cId="37923318" sldId="344"/>
            <ac:spMk id="6" creationId="{AFB31857-9271-01C7-EE82-354B9C392352}"/>
          </ac:spMkLst>
        </pc:spChg>
        <pc:picChg chg="del">
          <ac:chgData name="Ischanka, Eugen" userId="e4e12248-2210-4459-89e3-acb2dd10c338" providerId="ADAL" clId="{671D133E-469A-4763-9661-3DED79A05069}" dt="2024-01-08T09:12:48.004" v="797" actId="478"/>
          <ac:picMkLst>
            <pc:docMk/>
            <pc:sldMk cId="37923318" sldId="344"/>
            <ac:picMk id="2" creationId="{E458F727-7F8D-15B8-DA8D-79E311912660}"/>
          </ac:picMkLst>
        </pc:picChg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777640778" sldId="345"/>
        </pc:sldMkLst>
        <pc:spChg chg="del">
          <ac:chgData name="Ischanka, Eugen" userId="e4e12248-2210-4459-89e3-acb2dd10c338" providerId="ADAL" clId="{671D133E-469A-4763-9661-3DED79A05069}" dt="2024-01-08T09:13:34.170" v="815" actId="478"/>
          <ac:spMkLst>
            <pc:docMk/>
            <pc:sldMk cId="3777640778" sldId="345"/>
            <ac:spMk id="4" creationId="{DC18FB52-41F7-DB7B-9421-9B3D28725272}"/>
          </ac:spMkLst>
        </pc:spChg>
        <pc:spChg chg="add del mod">
          <ac:chgData name="Ischanka, Eugen" userId="e4e12248-2210-4459-89e3-acb2dd10c338" providerId="ADAL" clId="{671D133E-469A-4763-9661-3DED79A05069}" dt="2024-01-08T09:21:37.987" v="1250" actId="27636"/>
          <ac:spMkLst>
            <pc:docMk/>
            <pc:sldMk cId="3777640778" sldId="345"/>
            <ac:spMk id="9" creationId="{711987CC-0F19-1BE3-2AD9-77D617C318EE}"/>
          </ac:spMkLst>
        </pc:spChg>
        <pc:picChg chg="del">
          <ac:chgData name="Ischanka, Eugen" userId="e4e12248-2210-4459-89e3-acb2dd10c338" providerId="ADAL" clId="{671D133E-469A-4763-9661-3DED79A05069}" dt="2024-01-08T09:12:49.812" v="798" actId="478"/>
          <ac:picMkLst>
            <pc:docMk/>
            <pc:sldMk cId="3777640778" sldId="345"/>
            <ac:picMk id="2" creationId="{2EC16EAF-40DA-84CD-ED8D-E2BB4B185B00}"/>
          </ac:picMkLst>
        </pc:picChg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2920645228" sldId="347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4125406410" sldId="350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2096330239" sldId="351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2438554093" sldId="356"/>
        </pc:sldMkLst>
        <pc:spChg chg="del">
          <ac:chgData name="Ischanka, Eugen" userId="e4e12248-2210-4459-89e3-acb2dd10c338" providerId="ADAL" clId="{671D133E-469A-4763-9661-3DED79A05069}" dt="2024-01-08T09:13:19.986" v="810" actId="478"/>
          <ac:spMkLst>
            <pc:docMk/>
            <pc:sldMk cId="2438554093" sldId="356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671D133E-469A-4763-9661-3DED79A05069}" dt="2024-01-08T09:21:38.010" v="1255" actId="27636"/>
          <ac:spMkLst>
            <pc:docMk/>
            <pc:sldMk cId="2438554093" sldId="356"/>
            <ac:spMk id="6" creationId="{A8AD98E7-5FD8-FF7C-EF75-7B77AE913386}"/>
          </ac:spMkLst>
        </pc:spChg>
        <pc:picChg chg="del">
          <ac:chgData name="Ischanka, Eugen" userId="e4e12248-2210-4459-89e3-acb2dd10c338" providerId="ADAL" clId="{671D133E-469A-4763-9661-3DED79A05069}" dt="2024-01-08T09:13:01.724" v="803" actId="478"/>
          <ac:picMkLst>
            <pc:docMk/>
            <pc:sldMk cId="2438554093" sldId="356"/>
            <ac:picMk id="2" creationId="{A69A9ACB-6BA4-B869-6F0B-5C109C2D753A}"/>
          </ac:picMkLst>
        </pc:picChg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1757976955" sldId="357"/>
        </pc:sldMkLst>
        <pc:spChg chg="del">
          <ac:chgData name="Ischanka, Eugen" userId="e4e12248-2210-4459-89e3-acb2dd10c338" providerId="ADAL" clId="{671D133E-469A-4763-9661-3DED79A05069}" dt="2024-01-08T09:13:17.608" v="809" actId="478"/>
          <ac:spMkLst>
            <pc:docMk/>
            <pc:sldMk cId="1757976955" sldId="357"/>
            <ac:spMk id="4" creationId="{006F0BFF-51C7-C9C1-4D51-3170E3347643}"/>
          </ac:spMkLst>
        </pc:spChg>
        <pc:spChg chg="add del mod">
          <ac:chgData name="Ischanka, Eugen" userId="e4e12248-2210-4459-89e3-acb2dd10c338" providerId="ADAL" clId="{671D133E-469A-4763-9661-3DED79A05069}" dt="2024-01-08T09:21:38.016" v="1256" actId="27636"/>
          <ac:spMkLst>
            <pc:docMk/>
            <pc:sldMk cId="1757976955" sldId="357"/>
            <ac:spMk id="13" creationId="{DBAC8D6D-25D1-5102-CDA0-974A0600477F}"/>
          </ac:spMkLst>
        </pc:spChg>
        <pc:picChg chg="del">
          <ac:chgData name="Ischanka, Eugen" userId="e4e12248-2210-4459-89e3-acb2dd10c338" providerId="ADAL" clId="{671D133E-469A-4763-9661-3DED79A05069}" dt="2024-01-08T09:13:03.331" v="804" actId="478"/>
          <ac:picMkLst>
            <pc:docMk/>
            <pc:sldMk cId="1757976955" sldId="357"/>
            <ac:picMk id="2" creationId="{7FD8DA4C-A9DF-C7D4-6FEC-D6533EB9B13C}"/>
          </ac:picMkLst>
        </pc:picChg>
      </pc:sldChg>
      <pc:sldChg chg="delSp del">
        <pc:chgData name="Ischanka, Eugen" userId="e4e12248-2210-4459-89e3-acb2dd10c338" providerId="ADAL" clId="{671D133E-469A-4763-9661-3DED79A05069}" dt="2024-01-08T09:08:21.574" v="781" actId="47"/>
        <pc:sldMkLst>
          <pc:docMk/>
          <pc:sldMk cId="3690981345" sldId="362"/>
        </pc:sldMkLst>
        <pc:picChg chg="del">
          <ac:chgData name="Ischanka, Eugen" userId="e4e12248-2210-4459-89e3-acb2dd10c338" providerId="ADAL" clId="{671D133E-469A-4763-9661-3DED79A05069}" dt="2024-01-08T09:08:18.863" v="780" actId="478"/>
          <ac:picMkLst>
            <pc:docMk/>
            <pc:sldMk cId="3690981345" sldId="362"/>
            <ac:picMk id="2" creationId="{4DEB2B62-44EA-BAFD-7A8A-CB60C2B2E068}"/>
          </ac:picMkLst>
        </pc:picChg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573670748" sldId="367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2009142809" sldId="371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676882289" sldId="372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1800175079" sldId="374"/>
        </pc:sldMkLst>
        <pc:spChg chg="del">
          <ac:chgData name="Ischanka, Eugen" userId="e4e12248-2210-4459-89e3-acb2dd10c338" providerId="ADAL" clId="{671D133E-469A-4763-9661-3DED79A05069}" dt="2024-01-08T09:13:22.318" v="811" actId="478"/>
          <ac:spMkLst>
            <pc:docMk/>
            <pc:sldMk cId="1800175079" sldId="374"/>
            <ac:spMk id="4" creationId="{FE1DD8D3-A197-B340-B78F-BC9DB81AA460}"/>
          </ac:spMkLst>
        </pc:spChg>
        <pc:spChg chg="add del mod">
          <ac:chgData name="Ischanka, Eugen" userId="e4e12248-2210-4459-89e3-acb2dd10c338" providerId="ADAL" clId="{671D133E-469A-4763-9661-3DED79A05069}" dt="2024-01-08T09:21:38.006" v="1254" actId="27636"/>
          <ac:spMkLst>
            <pc:docMk/>
            <pc:sldMk cId="1800175079" sldId="374"/>
            <ac:spMk id="7" creationId="{E90E5029-7E4E-7BD9-669D-FF2DA3122C23}"/>
          </ac:spMkLst>
        </pc:spChg>
        <pc:picChg chg="del">
          <ac:chgData name="Ischanka, Eugen" userId="e4e12248-2210-4459-89e3-acb2dd10c338" providerId="ADAL" clId="{671D133E-469A-4763-9661-3DED79A05069}" dt="2024-01-08T09:12:59.483" v="802" actId="478"/>
          <ac:picMkLst>
            <pc:docMk/>
            <pc:sldMk cId="1800175079" sldId="374"/>
            <ac:picMk id="5" creationId="{7319425A-6023-5AA0-8B15-F2C45BA93992}"/>
          </ac:picMkLst>
        </pc:picChg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3269083357" sldId="376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1621961505" sldId="377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1916996503" sldId="382"/>
        </pc:sldMkLst>
      </pc:sldChg>
      <pc:sldChg chg="del">
        <pc:chgData name="Ischanka, Eugen" userId="e4e12248-2210-4459-89e3-acb2dd10c338" providerId="ADAL" clId="{671D133E-469A-4763-9661-3DED79A05069}" dt="2024-01-08T09:08:22.419" v="782" actId="47"/>
        <pc:sldMkLst>
          <pc:docMk/>
          <pc:sldMk cId="375593325" sldId="384"/>
        </pc:sldMkLst>
      </pc:sldChg>
      <pc:sldChg chg="del">
        <pc:chgData name="Ischanka, Eugen" userId="e4e12248-2210-4459-89e3-acb2dd10c338" providerId="ADAL" clId="{671D133E-469A-4763-9661-3DED79A05069}" dt="2024-01-08T09:08:48.527" v="788" actId="47"/>
        <pc:sldMkLst>
          <pc:docMk/>
          <pc:sldMk cId="2261440095" sldId="385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413857255" sldId="386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778696541" sldId="387"/>
        </pc:sldMkLst>
      </pc:sldChg>
      <pc:sldChg chg="del">
        <pc:chgData name="Ischanka, Eugen" userId="e4e12248-2210-4459-89e3-acb2dd10c338" providerId="ADAL" clId="{671D133E-469A-4763-9661-3DED79A05069}" dt="2024-01-08T09:09:09.029" v="792" actId="47"/>
        <pc:sldMkLst>
          <pc:docMk/>
          <pc:sldMk cId="3389607607" sldId="388"/>
        </pc:sldMkLst>
      </pc:sldChg>
      <pc:sldChg chg="del">
        <pc:chgData name="Ischanka, Eugen" userId="e4e12248-2210-4459-89e3-acb2dd10c338" providerId="ADAL" clId="{671D133E-469A-4763-9661-3DED79A05069}" dt="2024-01-08T08:45:57.627" v="126" actId="47"/>
        <pc:sldMkLst>
          <pc:docMk/>
          <pc:sldMk cId="2778634486" sldId="389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581716097" sldId="390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548618951" sldId="398"/>
        </pc:sldMkLst>
        <pc:spChg chg="del">
          <ac:chgData name="Ischanka, Eugen" userId="e4e12248-2210-4459-89e3-acb2dd10c338" providerId="ADAL" clId="{671D133E-469A-4763-9661-3DED79A05069}" dt="2024-01-08T09:13:32.104" v="814" actId="478"/>
          <ac:spMkLst>
            <pc:docMk/>
            <pc:sldMk cId="3548618951" sldId="398"/>
            <ac:spMk id="4" creationId="{A9B80F58-A5AC-C116-E6E4-72DDB8ABC855}"/>
          </ac:spMkLst>
        </pc:spChg>
        <pc:spChg chg="add del mod">
          <ac:chgData name="Ischanka, Eugen" userId="e4e12248-2210-4459-89e3-acb2dd10c338" providerId="ADAL" clId="{671D133E-469A-4763-9661-3DED79A05069}" dt="2024-01-08T09:21:37.992" v="1251" actId="27636"/>
          <ac:spMkLst>
            <pc:docMk/>
            <pc:sldMk cId="3548618951" sldId="398"/>
            <ac:spMk id="7" creationId="{AA6D8023-EEFF-23A3-6F64-8C918E8E00FD}"/>
          </ac:spMkLst>
        </pc:spChg>
        <pc:picChg chg="del">
          <ac:chgData name="Ischanka, Eugen" userId="e4e12248-2210-4459-89e3-acb2dd10c338" providerId="ADAL" clId="{671D133E-469A-4763-9661-3DED79A05069}" dt="2024-01-08T09:12:53.086" v="799" actId="478"/>
          <ac:picMkLst>
            <pc:docMk/>
            <pc:sldMk cId="3548618951" sldId="398"/>
            <ac:picMk id="2" creationId="{B23CBEA0-9351-DE12-6B6A-21CA5A99B4D6}"/>
          </ac:picMkLst>
        </pc:picChg>
      </pc:sldChg>
      <pc:sldChg chg="del">
        <pc:chgData name="Ischanka, Eugen" userId="e4e12248-2210-4459-89e3-acb2dd10c338" providerId="ADAL" clId="{671D133E-469A-4763-9661-3DED79A05069}" dt="2024-01-08T09:08:44.242" v="786" actId="47"/>
        <pc:sldMkLst>
          <pc:docMk/>
          <pc:sldMk cId="2861099419" sldId="399"/>
        </pc:sldMkLst>
      </pc:sldChg>
      <pc:sldChg chg="del">
        <pc:chgData name="Ischanka, Eugen" userId="e4e12248-2210-4459-89e3-acb2dd10c338" providerId="ADAL" clId="{671D133E-469A-4763-9661-3DED79A05069}" dt="2024-01-08T09:09:06.630" v="791" actId="47"/>
        <pc:sldMkLst>
          <pc:docMk/>
          <pc:sldMk cId="627093849" sldId="406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875385177" sldId="407"/>
        </pc:sldMkLst>
        <pc:spChg chg="del">
          <ac:chgData name="Ischanka, Eugen" userId="e4e12248-2210-4459-89e3-acb2dd10c338" providerId="ADAL" clId="{671D133E-469A-4763-9661-3DED79A05069}" dt="2024-01-08T09:13:12.045" v="807" actId="478"/>
          <ac:spMkLst>
            <pc:docMk/>
            <pc:sldMk cId="875385177" sldId="407"/>
            <ac:spMk id="4" creationId="{49FCFD48-E6BC-45CA-2250-8C912E261F36}"/>
          </ac:spMkLst>
        </pc:spChg>
        <pc:spChg chg="add del mod">
          <ac:chgData name="Ischanka, Eugen" userId="e4e12248-2210-4459-89e3-acb2dd10c338" providerId="ADAL" clId="{671D133E-469A-4763-9661-3DED79A05069}" dt="2024-01-08T09:21:38.024" v="1258" actId="27636"/>
          <ac:spMkLst>
            <pc:docMk/>
            <pc:sldMk cId="875385177" sldId="407"/>
            <ac:spMk id="7" creationId="{641CFF5B-B95F-33CD-BFAF-F5729898F0A0}"/>
          </ac:spMkLst>
        </pc:spChg>
        <pc:picChg chg="del">
          <ac:chgData name="Ischanka, Eugen" userId="e4e12248-2210-4459-89e3-acb2dd10c338" providerId="ADAL" clId="{671D133E-469A-4763-9661-3DED79A05069}" dt="2024-01-08T09:13:07.571" v="806" actId="478"/>
          <ac:picMkLst>
            <pc:docMk/>
            <pc:sldMk cId="875385177" sldId="407"/>
            <ac:picMk id="3" creationId="{8590E3CB-D221-05D5-7D72-10CD4F10EAFF}"/>
          </ac:picMkLst>
        </pc:picChg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595948307" sldId="410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3469313811" sldId="411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948041330" sldId="412"/>
        </pc:sldMkLst>
      </pc:sldChg>
      <pc:sldChg chg="del">
        <pc:chgData name="Ischanka, Eugen" userId="e4e12248-2210-4459-89e3-acb2dd10c338" providerId="ADAL" clId="{671D133E-469A-4763-9661-3DED79A05069}" dt="2024-01-08T09:08:25.534" v="785" actId="47"/>
        <pc:sldMkLst>
          <pc:docMk/>
          <pc:sldMk cId="1738591175" sldId="413"/>
        </pc:sldMkLst>
      </pc:sldChg>
      <pc:sldChg chg="del">
        <pc:chgData name="Ischanka, Eugen" userId="e4e12248-2210-4459-89e3-acb2dd10c338" providerId="ADAL" clId="{671D133E-469A-4763-9661-3DED79A05069}" dt="2024-01-08T09:08:46.030" v="787" actId="47"/>
        <pc:sldMkLst>
          <pc:docMk/>
          <pc:sldMk cId="3623294175" sldId="414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206671879" sldId="415"/>
        </pc:sldMkLst>
        <pc:spChg chg="del">
          <ac:chgData name="Ischanka, Eugen" userId="e4e12248-2210-4459-89e3-acb2dd10c338" providerId="ADAL" clId="{671D133E-469A-4763-9661-3DED79A05069}" dt="2024-01-08T09:13:24.885" v="812" actId="478"/>
          <ac:spMkLst>
            <pc:docMk/>
            <pc:sldMk cId="206671879" sldId="415"/>
            <ac:spMk id="4" creationId="{B5E8BC01-7491-97C7-1D37-EAC01095744A}"/>
          </ac:spMkLst>
        </pc:spChg>
        <pc:spChg chg="add del mod">
          <ac:chgData name="Ischanka, Eugen" userId="e4e12248-2210-4459-89e3-acb2dd10c338" providerId="ADAL" clId="{671D133E-469A-4763-9661-3DED79A05069}" dt="2024-01-08T09:21:38.001" v="1253" actId="27636"/>
          <ac:spMkLst>
            <pc:docMk/>
            <pc:sldMk cId="206671879" sldId="415"/>
            <ac:spMk id="10" creationId="{3DF03696-1749-2ED8-F369-C5B9848706DE}"/>
          </ac:spMkLst>
        </pc:spChg>
        <pc:picChg chg="del">
          <ac:chgData name="Ischanka, Eugen" userId="e4e12248-2210-4459-89e3-acb2dd10c338" providerId="ADAL" clId="{671D133E-469A-4763-9661-3DED79A05069}" dt="2024-01-08T09:12:57.139" v="801" actId="478"/>
          <ac:picMkLst>
            <pc:docMk/>
            <pc:sldMk cId="206671879" sldId="415"/>
            <ac:picMk id="2" creationId="{82FE3A15-FB5B-3115-EE07-9DEE0C3BC6BE}"/>
          </ac:picMkLst>
        </pc:picChg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433820261" sldId="416"/>
        </pc:sldMkLst>
        <pc:spChg chg="del">
          <ac:chgData name="Ischanka, Eugen" userId="e4e12248-2210-4459-89e3-acb2dd10c338" providerId="ADAL" clId="{671D133E-469A-4763-9661-3DED79A05069}" dt="2024-01-08T09:13:15.147" v="808" actId="478"/>
          <ac:spMkLst>
            <pc:docMk/>
            <pc:sldMk cId="3433820261" sldId="416"/>
            <ac:spMk id="4" creationId="{F6D93135-8BE9-255B-10E9-986B3C3AC996}"/>
          </ac:spMkLst>
        </pc:spChg>
        <pc:spChg chg="add del mod">
          <ac:chgData name="Ischanka, Eugen" userId="e4e12248-2210-4459-89e3-acb2dd10c338" providerId="ADAL" clId="{671D133E-469A-4763-9661-3DED79A05069}" dt="2024-01-08T09:21:38.020" v="1257" actId="27636"/>
          <ac:spMkLst>
            <pc:docMk/>
            <pc:sldMk cId="3433820261" sldId="416"/>
            <ac:spMk id="10" creationId="{1F2E18C5-E2C4-A34B-A347-DE5484A2C707}"/>
          </ac:spMkLst>
        </pc:spChg>
        <pc:picChg chg="del">
          <ac:chgData name="Ischanka, Eugen" userId="e4e12248-2210-4459-89e3-acb2dd10c338" providerId="ADAL" clId="{671D133E-469A-4763-9661-3DED79A05069}" dt="2024-01-08T09:13:05.186" v="805" actId="478"/>
          <ac:picMkLst>
            <pc:docMk/>
            <pc:sldMk cId="3433820261" sldId="416"/>
            <ac:picMk id="2" creationId="{5C556CC6-3104-9541-695D-E0DA6AFD2B0A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06161604" sldId="417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2098740690" sldId="419"/>
        </pc:sldMkLst>
        <pc:spChg chg="del">
          <ac:chgData name="Ischanka, Eugen" userId="e4e12248-2210-4459-89e3-acb2dd10c338" providerId="ADAL" clId="{671D133E-469A-4763-9661-3DED79A05069}" dt="2024-01-08T09:13:27.802" v="813" actId="478"/>
          <ac:spMkLst>
            <pc:docMk/>
            <pc:sldMk cId="2098740690" sldId="419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671D133E-469A-4763-9661-3DED79A05069}" dt="2024-01-08T09:21:37.996" v="1252" actId="27636"/>
          <ac:spMkLst>
            <pc:docMk/>
            <pc:sldMk cId="2098740690" sldId="419"/>
            <ac:spMk id="7" creationId="{CB2D87E5-932F-C26C-AD0A-6AC5A87B8D37}"/>
          </ac:spMkLst>
        </pc:spChg>
        <pc:picChg chg="del">
          <ac:chgData name="Ischanka, Eugen" userId="e4e12248-2210-4459-89e3-acb2dd10c338" providerId="ADAL" clId="{671D133E-469A-4763-9661-3DED79A05069}" dt="2024-01-08T09:12:54.955" v="800" actId="478"/>
          <ac:picMkLst>
            <pc:docMk/>
            <pc:sldMk cId="2098740690" sldId="419"/>
            <ac:picMk id="5" creationId="{F44556AF-F16E-FCCB-B70C-F7B3CCD3F0AC}"/>
          </ac:picMkLst>
        </pc:picChg>
      </pc:sldChg>
      <pc:sldChg chg="new del">
        <pc:chgData name="Ischanka, Eugen" userId="e4e12248-2210-4459-89e3-acb2dd10c338" providerId="ADAL" clId="{671D133E-469A-4763-9661-3DED79A05069}" dt="2024-01-08T09:18:10.677" v="899" actId="680"/>
        <pc:sldMkLst>
          <pc:docMk/>
          <pc:sldMk cId="2132778992" sldId="420"/>
        </pc:sldMkLst>
      </pc:sldChg>
      <pc:sldChg chg="addSp delSp modSp new del mod modClrScheme chgLayout">
        <pc:chgData name="Ischanka, Eugen" userId="e4e12248-2210-4459-89e3-acb2dd10c338" providerId="ADAL" clId="{671D133E-469A-4763-9661-3DED79A05069}" dt="2024-01-08T09:21:05.595" v="1247" actId="680"/>
        <pc:sldMkLst>
          <pc:docMk/>
          <pc:sldMk cId="2763575487" sldId="420"/>
        </pc:sldMkLst>
        <pc:spChg chg="add del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2" creationId="{D4F39F72-4902-43D7-0278-F4061A3F3EF4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3" creationId="{DD62B533-D8ED-5440-9B09-8F93038FE06E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4" creationId="{C9E224DB-3C28-1993-8ECA-1D9968E5E466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5" creationId="{A93A8FAF-3BE9-FD98-2691-67A85257A3EE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6" creationId="{134826A1-568B-99F4-048E-2768F6E29E19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7" creationId="{BC979465-6FBB-7D45-7EB4-FDA87E7DC42D}"/>
          </ac:spMkLst>
        </pc:sp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296114413" sldId="420"/>
        </pc:sldMkLst>
      </pc:sldChg>
      <pc:sldChg chg="addSp delSp modSp add mod modClrScheme chgLayout">
        <pc:chgData name="Ischanka, Eugen" userId="e4e12248-2210-4459-89e3-acb2dd10c338" providerId="ADAL" clId="{671D133E-469A-4763-9661-3DED79A05069}" dt="2024-01-15T12:53:56.345" v="3636" actId="113"/>
        <pc:sldMkLst>
          <pc:docMk/>
          <pc:sldMk cId="3298816911" sldId="420"/>
        </pc:sldMkLst>
        <pc:spChg chg="add del mod ord">
          <ac:chgData name="Ischanka, Eugen" userId="e4e12248-2210-4459-89e3-acb2dd10c338" providerId="ADAL" clId="{671D133E-469A-4763-9661-3DED79A05069}" dt="2024-01-08T10:12:39.067" v="1514" actId="700"/>
          <ac:spMkLst>
            <pc:docMk/>
            <pc:sldMk cId="3298816911" sldId="420"/>
            <ac:spMk id="2" creationId="{3746F857-CDEB-C0C9-CAED-DD7B0F67E0ED}"/>
          </ac:spMkLst>
        </pc:spChg>
        <pc:spChg chg="mod ord">
          <ac:chgData name="Ischanka, Eugen" userId="e4e12248-2210-4459-89e3-acb2dd10c338" providerId="ADAL" clId="{671D133E-469A-4763-9661-3DED79A05069}" dt="2024-01-08T10:14:54.069" v="1530" actId="700"/>
          <ac:spMkLst>
            <pc:docMk/>
            <pc:sldMk cId="3298816911" sldId="420"/>
            <ac:spMk id="3" creationId="{B5181DB0-2B58-0113-7830-B041253D70A6}"/>
          </ac:spMkLst>
        </pc:spChg>
        <pc:spChg chg="mod ord">
          <ac:chgData name="Ischanka, Eugen" userId="e4e12248-2210-4459-89e3-acb2dd10c338" providerId="ADAL" clId="{671D133E-469A-4763-9661-3DED79A05069}" dt="2024-01-08T10:14:54.069" v="1530" actId="700"/>
          <ac:spMkLst>
            <pc:docMk/>
            <pc:sldMk cId="3298816911" sldId="420"/>
            <ac:spMk id="4" creationId="{EC4D51B0-7A2D-8FE6-B170-2824A865A549}"/>
          </ac:spMkLst>
        </pc:spChg>
        <pc:spChg chg="add del mod ord">
          <ac:chgData name="Ischanka, Eugen" userId="e4e12248-2210-4459-89e3-acb2dd10c338" providerId="ADAL" clId="{671D133E-469A-4763-9661-3DED79A05069}" dt="2024-01-08T10:12:39.067" v="1514" actId="700"/>
          <ac:spMkLst>
            <pc:docMk/>
            <pc:sldMk cId="3298816911" sldId="420"/>
            <ac:spMk id="6" creationId="{B2E3199D-5FFA-FC38-9278-A19E2C320E66}"/>
          </ac:spMkLst>
        </pc:spChg>
        <pc:spChg chg="add del mod ord">
          <ac:chgData name="Ischanka, Eugen" userId="e4e12248-2210-4459-89e3-acb2dd10c338" providerId="ADAL" clId="{671D133E-469A-4763-9661-3DED79A05069}" dt="2024-01-08T10:14:23.976" v="1523" actId="700"/>
          <ac:spMkLst>
            <pc:docMk/>
            <pc:sldMk cId="3298816911" sldId="420"/>
            <ac:spMk id="12" creationId="{1EBC338E-3F3C-252E-7E3F-A9E07533EE61}"/>
          </ac:spMkLst>
        </pc:spChg>
        <pc:spChg chg="add del mod">
          <ac:chgData name="Ischanka, Eugen" userId="e4e12248-2210-4459-89e3-acb2dd10c338" providerId="ADAL" clId="{671D133E-469A-4763-9661-3DED79A05069}" dt="2024-01-08T10:14:20.749" v="1521"/>
          <ac:spMkLst>
            <pc:docMk/>
            <pc:sldMk cId="3298816911" sldId="420"/>
            <ac:spMk id="14" creationId="{AFA9F6A2-EC80-2128-704C-F52E66A7206F}"/>
          </ac:spMkLst>
        </pc:spChg>
        <pc:spChg chg="add del mod ord">
          <ac:chgData name="Ischanka, Eugen" userId="e4e12248-2210-4459-89e3-acb2dd10c338" providerId="ADAL" clId="{671D133E-469A-4763-9661-3DED79A05069}" dt="2024-01-08T10:14:19.928" v="1519" actId="700"/>
          <ac:spMkLst>
            <pc:docMk/>
            <pc:sldMk cId="3298816911" sldId="420"/>
            <ac:spMk id="15" creationId="{090D624D-BEF1-7EA4-2F16-D5BF04B2C967}"/>
          </ac:spMkLst>
        </pc:spChg>
        <pc:spChg chg="add del mod ord">
          <ac:chgData name="Ischanka, Eugen" userId="e4e12248-2210-4459-89e3-acb2dd10c338" providerId="ADAL" clId="{671D133E-469A-4763-9661-3DED79A05069}" dt="2024-01-08T10:14:54.069" v="1530" actId="700"/>
          <ac:spMkLst>
            <pc:docMk/>
            <pc:sldMk cId="3298816911" sldId="420"/>
            <ac:spMk id="16" creationId="{5E39F79C-3AC0-1ABF-D25A-A50013604650}"/>
          </ac:spMkLst>
        </pc:spChg>
        <pc:spChg chg="add del mod">
          <ac:chgData name="Ischanka, Eugen" userId="e4e12248-2210-4459-89e3-acb2dd10c338" providerId="ADAL" clId="{671D133E-469A-4763-9661-3DED79A05069}" dt="2024-01-08T10:14:29.569" v="1525"/>
          <ac:spMkLst>
            <pc:docMk/>
            <pc:sldMk cId="3298816911" sldId="420"/>
            <ac:spMk id="17" creationId="{328DA738-3893-CC15-EB75-1206EC4716CB}"/>
          </ac:spMkLst>
        </pc:spChg>
        <pc:spChg chg="add mod ord">
          <ac:chgData name="Ischanka, Eugen" userId="e4e12248-2210-4459-89e3-acb2dd10c338" providerId="ADAL" clId="{671D133E-469A-4763-9661-3DED79A05069}" dt="2024-01-08T10:34:29.049" v="1751" actId="20577"/>
          <ac:spMkLst>
            <pc:docMk/>
            <pc:sldMk cId="3298816911" sldId="420"/>
            <ac:spMk id="20" creationId="{47D0D074-361D-FBC8-7FA1-C2D313A86D28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1" creationId="{A2754165-4340-5713-C4D9-2009755074D9}"/>
          </ac:spMkLst>
        </pc:spChg>
        <pc:spChg chg="add del mod ord">
          <ac:chgData name="Ischanka, Eugen" userId="e4e12248-2210-4459-89e3-acb2dd10c338" providerId="ADAL" clId="{671D133E-469A-4763-9661-3DED79A05069}" dt="2024-01-08T10:14:56.450" v="1531"/>
          <ac:spMkLst>
            <pc:docMk/>
            <pc:sldMk cId="3298816911" sldId="420"/>
            <ac:spMk id="22" creationId="{7719AFB1-1D2B-2662-8A83-FCE88EA05E91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3" creationId="{F0C1EDD1-DB63-25E8-B255-D248CD3A1905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4" creationId="{8ACAB3E2-FEB0-5B19-B571-433C888FDE19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5" creationId="{BF7723CF-A1DA-C261-2C1C-EB61E8BD14F7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6" creationId="{88E13A17-E45A-E90F-4829-02208A01ADF1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7" creationId="{F1BD3F83-17AF-40A1-D57F-900C74C3BCC7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8" creationId="{D19FAF6B-9814-D2B8-7ADC-532F530E8348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9" creationId="{050419A6-6006-4233-E931-50708DE8195C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30" creationId="{4FCB0FCD-7A4A-5F31-14F3-93A223A8E728}"/>
          </ac:spMkLst>
        </pc:spChg>
        <pc:spChg chg="add del mod ord">
          <ac:chgData name="Ischanka, Eugen" userId="e4e12248-2210-4459-89e3-acb2dd10c338" providerId="ADAL" clId="{671D133E-469A-4763-9661-3DED79A05069}" dt="2024-01-08T10:16:49.308" v="1537"/>
          <ac:spMkLst>
            <pc:docMk/>
            <pc:sldMk cId="3298816911" sldId="420"/>
            <ac:spMk id="33" creationId="{B1043513-283B-3533-8C59-2A2CA6898090}"/>
          </ac:spMkLst>
        </pc:spChg>
        <pc:spChg chg="add del mod">
          <ac:chgData name="Ischanka, Eugen" userId="e4e12248-2210-4459-89e3-acb2dd10c338" providerId="ADAL" clId="{671D133E-469A-4763-9661-3DED79A05069}" dt="2024-01-08T10:16:38.598" v="1536" actId="478"/>
          <ac:spMkLst>
            <pc:docMk/>
            <pc:sldMk cId="3298816911" sldId="420"/>
            <ac:spMk id="34" creationId="{6A52F15E-15FD-128E-9F06-0406628E3529}"/>
          </ac:spMkLst>
        </pc:spChg>
        <pc:spChg chg="add del mod">
          <ac:chgData name="Ischanka, Eugen" userId="e4e12248-2210-4459-89e3-acb2dd10c338" providerId="ADAL" clId="{671D133E-469A-4763-9661-3DED79A05069}" dt="2024-01-08T10:17:03.152" v="1545" actId="478"/>
          <ac:spMkLst>
            <pc:docMk/>
            <pc:sldMk cId="3298816911" sldId="420"/>
            <ac:spMk id="36" creationId="{85AE603C-E5EC-3C46-703A-DBE4EB3E4E43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38" creationId="{C6F46A9E-5CFB-85F1-28FB-C3A822629D48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39" creationId="{ECBB40DE-CB85-E52C-0CB2-ACD14C3F1C16}"/>
          </ac:spMkLst>
        </pc:spChg>
        <pc:spChg chg="add del mod">
          <ac:chgData name="Ischanka, Eugen" userId="e4e12248-2210-4459-89e3-acb2dd10c338" providerId="ADAL" clId="{671D133E-469A-4763-9661-3DED79A05069}" dt="2024-01-08T10:18:43.708" v="1547"/>
          <ac:spMkLst>
            <pc:docMk/>
            <pc:sldMk cId="3298816911" sldId="420"/>
            <ac:spMk id="40" creationId="{D32F217F-25EF-CF2B-67FD-9C987CC40023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43" creationId="{D3ECB5A2-280A-0007-786A-DF6C328E7889}"/>
          </ac:spMkLst>
        </pc:spChg>
        <pc:spChg chg="add del mod">
          <ac:chgData name="Ischanka, Eugen" userId="e4e12248-2210-4459-89e3-acb2dd10c338" providerId="ADAL" clId="{671D133E-469A-4763-9661-3DED79A05069}" dt="2024-01-08T10:19:18.529" v="1549"/>
          <ac:spMkLst>
            <pc:docMk/>
            <pc:sldMk cId="3298816911" sldId="420"/>
            <ac:spMk id="45" creationId="{DF62A760-9EF8-4FC6-4E61-5A8DEFB27A69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47" creationId="{E7BA0741-3C6D-451D-9FAD-A8D98102801E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48" creationId="{95352529-B96D-EC18-2E1B-A6C2975000D8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49" creationId="{B4C111E5-77C1-12F5-3774-9DABE30A2879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50" creationId="{C29052BE-EFFD-D177-7244-E1A94BC4E2DD}"/>
          </ac:spMkLst>
        </pc:spChg>
        <pc:spChg chg="add del mod ord">
          <ac:chgData name="Ischanka, Eugen" userId="e4e12248-2210-4459-89e3-acb2dd10c338" providerId="ADAL" clId="{671D133E-469A-4763-9661-3DED79A05069}" dt="2024-01-08T10:24:16.452" v="1583"/>
          <ac:spMkLst>
            <pc:docMk/>
            <pc:sldMk cId="3298816911" sldId="420"/>
            <ac:spMk id="52" creationId="{EEBF0E61-7DBD-1DB2-96C2-57C9CC906EA2}"/>
          </ac:spMkLst>
        </pc:spChg>
        <pc:spChg chg="add mod">
          <ac:chgData name="Ischanka, Eugen" userId="e4e12248-2210-4459-89e3-acb2dd10c338" providerId="ADAL" clId="{671D133E-469A-4763-9661-3DED79A05069}" dt="2024-01-08T10:32:04.287" v="1707" actId="1035"/>
          <ac:spMkLst>
            <pc:docMk/>
            <pc:sldMk cId="3298816911" sldId="420"/>
            <ac:spMk id="54" creationId="{1B9E04E2-A8C8-3438-4626-BC0BC9EB96DA}"/>
          </ac:spMkLst>
        </pc:spChg>
        <pc:spChg chg="add del mod ord">
          <ac:chgData name="Ischanka, Eugen" userId="e4e12248-2210-4459-89e3-acb2dd10c338" providerId="ADAL" clId="{671D133E-469A-4763-9661-3DED79A05069}" dt="2024-01-08T10:26:49.194" v="1598"/>
          <ac:spMkLst>
            <pc:docMk/>
            <pc:sldMk cId="3298816911" sldId="420"/>
            <ac:spMk id="56" creationId="{2040523D-1A2B-30DD-7DDD-075F69489284}"/>
          </ac:spMkLst>
        </pc:spChg>
        <pc:spChg chg="add mod ord">
          <ac:chgData name="Ischanka, Eugen" userId="e4e12248-2210-4459-89e3-acb2dd10c338" providerId="ADAL" clId="{671D133E-469A-4763-9661-3DED79A05069}" dt="2024-01-08T12:22:31.570" v="2100" actId="207"/>
          <ac:spMkLst>
            <pc:docMk/>
            <pc:sldMk cId="3298816911" sldId="420"/>
            <ac:spMk id="61" creationId="{E92EA52C-9DB4-0D2D-7457-0DBC1C3D2993}"/>
          </ac:spMkLst>
        </pc:sp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7" creationId="{3473F3B7-D20C-47B7-8847-E819788DDC43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8" creationId="{A7F9809E-E555-8405-19A5-AFF3D5912D75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9" creationId="{630FC6BC-E3C7-31F6-2978-C8134B48AD86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10" creationId="{60112421-45C4-BE85-367F-032B60A6D072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8T10:12:33.974" v="1513"/>
          <ac:graphicFrameMkLst>
            <pc:docMk/>
            <pc:sldMk cId="3298816911" sldId="420"/>
            <ac:graphicFrameMk id="11" creationId="{B190D346-9251-95B2-1AEF-DAB3C2957EF7}"/>
          </ac:graphicFrameMkLst>
        </pc:graphicFrameChg>
        <pc:graphicFrameChg chg="add mod ord">
          <ac:chgData name="Ischanka, Eugen" userId="e4e12248-2210-4459-89e3-acb2dd10c338" providerId="ADAL" clId="{671D133E-469A-4763-9661-3DED79A05069}" dt="2024-01-08T10:14:21.121" v="1522"/>
          <ac:graphicFrameMkLst>
            <pc:docMk/>
            <pc:sldMk cId="3298816911" sldId="420"/>
            <ac:graphicFrameMk id="13" creationId="{B190D346-9251-95B2-1AEF-DAB3C2957EF7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8T10:14:42.802" v="1527"/>
          <ac:graphicFrameMkLst>
            <pc:docMk/>
            <pc:sldMk cId="3298816911" sldId="420"/>
            <ac:graphicFrameMk id="18" creationId="{B190D346-9251-95B2-1AEF-DAB3C2957EF7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8T10:14:46.549" v="1529"/>
          <ac:graphicFrameMkLst>
            <pc:docMk/>
            <pc:sldMk cId="3298816911" sldId="420"/>
            <ac:graphicFrameMk id="19" creationId="{B190D346-9251-95B2-1AEF-DAB3C2957EF7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15:14.441" v="1532" actId="478"/>
          <ac:graphicFrameMkLst>
            <pc:docMk/>
            <pc:sldMk cId="3298816911" sldId="420"/>
            <ac:graphicFrameMk id="31" creationId="{B190D346-9251-95B2-1AEF-DAB3C2957EF7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18:42.381" v="1546" actId="478"/>
          <ac:graphicFrameMkLst>
            <pc:docMk/>
            <pc:sldMk cId="3298816911" sldId="420"/>
            <ac:graphicFrameMk id="35" creationId="{B190D346-9251-95B2-1AEF-DAB3C2957EF7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19:17.480" v="1548" actId="478"/>
          <ac:graphicFrameMkLst>
            <pc:docMk/>
            <pc:sldMk cId="3298816911" sldId="420"/>
            <ac:graphicFrameMk id="41" creationId="{B190D346-9251-95B2-1AEF-DAB3C2957EF7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42" creationId="{3096BA0E-0B24-9AF7-4F08-508E7F47C9F9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23:56.026" v="1581" actId="478"/>
          <ac:graphicFrameMkLst>
            <pc:docMk/>
            <pc:sldMk cId="3298816911" sldId="420"/>
            <ac:graphicFrameMk id="46" creationId="{B190D346-9251-95B2-1AEF-DAB3C2957EF7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0:25:49.510" v="1596" actId="478"/>
          <ac:graphicFrameMkLst>
            <pc:docMk/>
            <pc:sldMk cId="3298816911" sldId="420"/>
            <ac:graphicFrameMk id="53" creationId="{B190D346-9251-95B2-1AEF-DAB3C2957EF7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0:41:55.116" v="1876" actId="478"/>
          <ac:graphicFrameMkLst>
            <pc:docMk/>
            <pc:sldMk cId="3298816911" sldId="420"/>
            <ac:graphicFrameMk id="57" creationId="{B190D346-9251-95B2-1AEF-DAB3C2957EF7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15T12:51:41.054" v="3580" actId="13926"/>
          <ac:graphicFrameMkLst>
            <pc:docMk/>
            <pc:sldMk cId="3298816911" sldId="420"/>
            <ac:graphicFrameMk id="58" creationId="{6E109145-8418-01BD-A625-923FD38719AC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8:55:10.325" v="3062" actId="113"/>
          <ac:graphicFrameMkLst>
            <pc:docMk/>
            <pc:sldMk cId="3298816911" sldId="420"/>
            <ac:graphicFrameMk id="59" creationId="{43656AC0-A22C-B0C1-90EB-FEC51A6D3BF9}"/>
          </ac:graphicFrameMkLst>
        </pc:graphicFrameChg>
        <pc:picChg chg="del">
          <ac:chgData name="Ischanka, Eugen" userId="e4e12248-2210-4459-89e3-acb2dd10c338" providerId="ADAL" clId="{671D133E-469A-4763-9661-3DED79A05069}" dt="2024-01-08T09:26:17.412" v="1358" actId="478"/>
          <ac:picMkLst>
            <pc:docMk/>
            <pc:sldMk cId="3298816911" sldId="420"/>
            <ac:picMk id="5" creationId="{1BCC2814-DEFB-8E18-9C9A-7FC7A561B055}"/>
          </ac:picMkLst>
        </pc:picChg>
      </pc:sldChg>
      <pc:sldChg chg="delSp modSp add del mod">
        <pc:chgData name="Ischanka, Eugen" userId="e4e12248-2210-4459-89e3-acb2dd10c338" providerId="ADAL" clId="{671D133E-469A-4763-9661-3DED79A05069}" dt="2024-01-08T12:22:53.914" v="2102" actId="47"/>
        <pc:sldMkLst>
          <pc:docMk/>
          <pc:sldMk cId="483932588" sldId="421"/>
        </pc:sldMkLst>
        <pc:spChg chg="mod">
          <ac:chgData name="Ischanka, Eugen" userId="e4e12248-2210-4459-89e3-acb2dd10c338" providerId="ADAL" clId="{671D133E-469A-4763-9661-3DED79A05069}" dt="2024-01-08T09:58:40.425" v="1474" actId="20577"/>
          <ac:spMkLst>
            <pc:docMk/>
            <pc:sldMk cId="483932588" sldId="421"/>
            <ac:spMk id="3" creationId="{A1D73085-DFC7-9E5A-D7D2-A16F79BB0A99}"/>
          </ac:spMkLst>
        </pc:spChg>
        <pc:spChg chg="mod">
          <ac:chgData name="Ischanka, Eugen" userId="e4e12248-2210-4459-89e3-acb2dd10c338" providerId="ADAL" clId="{671D133E-469A-4763-9661-3DED79A05069}" dt="2024-01-08T09:58:20.792" v="1442" actId="20577"/>
          <ac:spMkLst>
            <pc:docMk/>
            <pc:sldMk cId="483932588" sldId="421"/>
            <ac:spMk id="4" creationId="{DC18FB52-41F7-DB7B-9421-9B3D28725272}"/>
          </ac:spMkLst>
        </pc:spChg>
        <pc:picChg chg="del">
          <ac:chgData name="Ischanka, Eugen" userId="e4e12248-2210-4459-89e3-acb2dd10c338" providerId="ADAL" clId="{671D133E-469A-4763-9661-3DED79A05069}" dt="2024-01-08T09:26:19.243" v="1359" actId="478"/>
          <ac:picMkLst>
            <pc:docMk/>
            <pc:sldMk cId="483932588" sldId="421"/>
            <ac:picMk id="6" creationId="{D3B10F95-2F5B-73BC-6B9F-129E9885452A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988216951" sldId="421"/>
        </pc:sldMkLst>
      </pc:sldChg>
      <pc:sldChg chg="addSp delSp modSp add mod modClrScheme chgLayout">
        <pc:chgData name="Ischanka, Eugen" userId="e4e12248-2210-4459-89e3-acb2dd10c338" providerId="ADAL" clId="{671D133E-469A-4763-9661-3DED79A05069}" dt="2024-01-08T15:00:56.453" v="2248" actId="13926"/>
        <pc:sldMkLst>
          <pc:docMk/>
          <pc:sldMk cId="2147757826" sldId="422"/>
        </pc:sldMkLst>
        <pc:spChg chg="mod ord">
          <ac:chgData name="Ischanka, Eugen" userId="e4e12248-2210-4459-89e3-acb2dd10c338" providerId="ADAL" clId="{671D133E-469A-4763-9661-3DED79A05069}" dt="2024-01-08T14:42:00.370" v="2108" actId="700"/>
          <ac:spMkLst>
            <pc:docMk/>
            <pc:sldMk cId="2147757826" sldId="422"/>
            <ac:spMk id="3" creationId="{7D5E716F-27C5-C1EE-976D-A729707EEE2D}"/>
          </ac:spMkLst>
        </pc:spChg>
        <pc:spChg chg="mod ord">
          <ac:chgData name="Ischanka, Eugen" userId="e4e12248-2210-4459-89e3-acb2dd10c338" providerId="ADAL" clId="{671D133E-469A-4763-9661-3DED79A05069}" dt="2024-01-08T14:42:00.370" v="2108" actId="700"/>
          <ac:spMkLst>
            <pc:docMk/>
            <pc:sldMk cId="2147757826" sldId="422"/>
            <ac:spMk id="4" creationId="{A9B80F58-A5AC-C116-E6E4-72DDB8ABC855}"/>
          </ac:spMkLst>
        </pc:spChg>
        <pc:spChg chg="add del mod ord">
          <ac:chgData name="Ischanka, Eugen" userId="e4e12248-2210-4459-89e3-acb2dd10c338" providerId="ADAL" clId="{671D133E-469A-4763-9661-3DED79A05069}" dt="2024-01-08T14:42:00.370" v="2108" actId="700"/>
          <ac:spMkLst>
            <pc:docMk/>
            <pc:sldMk cId="2147757826" sldId="422"/>
            <ac:spMk id="5" creationId="{5B865627-75CE-A65C-9DFD-61A2ECA782B7}"/>
          </ac:spMkLst>
        </pc:spChg>
        <pc:spChg chg="del mod">
          <ac:chgData name="Ischanka, Eugen" userId="e4e12248-2210-4459-89e3-acb2dd10c338" providerId="ADAL" clId="{671D133E-469A-4763-9661-3DED79A05069}" dt="2024-01-08T14:55:51.530" v="2129" actId="21"/>
          <ac:spMkLst>
            <pc:docMk/>
            <pc:sldMk cId="2147757826" sldId="422"/>
            <ac:spMk id="6" creationId="{E7F4107A-D447-E6C6-DBC5-FD95FD19F3BD}"/>
          </ac:spMkLst>
        </pc:spChg>
        <pc:spChg chg="add del mod ord">
          <ac:chgData name="Ischanka, Eugen" userId="e4e12248-2210-4459-89e3-acb2dd10c338" providerId="ADAL" clId="{671D133E-469A-4763-9661-3DED79A05069}" dt="2024-01-08T14:55:52.759" v="2130"/>
          <ac:spMkLst>
            <pc:docMk/>
            <pc:sldMk cId="2147757826" sldId="422"/>
            <ac:spMk id="7" creationId="{6BA2A26E-35A6-696F-4DD1-E91BD7B89F0F}"/>
          </ac:spMkLst>
        </pc:spChg>
        <pc:spChg chg="add del mod ord">
          <ac:chgData name="Ischanka, Eugen" userId="e4e12248-2210-4459-89e3-acb2dd10c338" providerId="ADAL" clId="{671D133E-469A-4763-9661-3DED79A05069}" dt="2024-01-08T14:42:08.940" v="2109"/>
          <ac:spMkLst>
            <pc:docMk/>
            <pc:sldMk cId="2147757826" sldId="422"/>
            <ac:spMk id="8" creationId="{FBCAB80B-5729-72A8-AF9D-7177E1A90FD0}"/>
          </ac:spMkLst>
        </pc:spChg>
        <pc:spChg chg="add del mod">
          <ac:chgData name="Ischanka, Eugen" userId="e4e12248-2210-4459-89e3-acb2dd10c338" providerId="ADAL" clId="{671D133E-469A-4763-9661-3DED79A05069}" dt="2024-01-08T14:43:44.112" v="2111"/>
          <ac:spMkLst>
            <pc:docMk/>
            <pc:sldMk cId="2147757826" sldId="422"/>
            <ac:spMk id="11" creationId="{6B001C12-D23B-CD41-DB55-8D5D79D9CF0D}"/>
          </ac:spMkLst>
        </pc:spChg>
        <pc:spChg chg="add del mod">
          <ac:chgData name="Ischanka, Eugen" userId="e4e12248-2210-4459-89e3-acb2dd10c338" providerId="ADAL" clId="{671D133E-469A-4763-9661-3DED79A05069}" dt="2024-01-08T14:55:15.779" v="2124"/>
          <ac:spMkLst>
            <pc:docMk/>
            <pc:sldMk cId="2147757826" sldId="422"/>
            <ac:spMk id="14" creationId="{126F2F5D-49A3-2FA0-F14E-05FA4BF1F8A9}"/>
          </ac:spMkLst>
        </pc:spChg>
        <pc:spChg chg="add mod">
          <ac:chgData name="Ischanka, Eugen" userId="e4e12248-2210-4459-89e3-acb2dd10c338" providerId="ADAL" clId="{671D133E-469A-4763-9661-3DED79A05069}" dt="2024-01-08T14:55:29.086" v="2126" actId="207"/>
          <ac:spMkLst>
            <pc:docMk/>
            <pc:sldMk cId="2147757826" sldId="422"/>
            <ac:spMk id="19" creationId="{022234DA-7CEA-AD1D-6D19-24C8012891B8}"/>
          </ac:spMkLst>
        </pc:spChg>
        <pc:spChg chg="add mod">
          <ac:chgData name="Ischanka, Eugen" userId="e4e12248-2210-4459-89e3-acb2dd10c338" providerId="ADAL" clId="{671D133E-469A-4763-9661-3DED79A05069}" dt="2024-01-08T15:00:56.453" v="2248" actId="13926"/>
          <ac:spMkLst>
            <pc:docMk/>
            <pc:sldMk cId="2147757826" sldId="422"/>
            <ac:spMk id="20" creationId="{C6DD26B4-C764-7A77-F53F-2C873796560C}"/>
          </ac:spMkLst>
        </pc:spChg>
        <pc:spChg chg="add del mod">
          <ac:chgData name="Ischanka, Eugen" userId="e4e12248-2210-4459-89e3-acb2dd10c338" providerId="ADAL" clId="{671D133E-469A-4763-9661-3DED79A05069}" dt="2024-01-08T14:56:04.471" v="2132" actId="478"/>
          <ac:spMkLst>
            <pc:docMk/>
            <pc:sldMk cId="2147757826" sldId="422"/>
            <ac:spMk id="21" creationId="{1F7CDCC4-4D2D-3288-C060-E9B32AD9C774}"/>
          </ac:spMkLst>
        </pc:spChg>
        <pc:graphicFrameChg chg="add del mod">
          <ac:chgData name="Ischanka, Eugen" userId="e4e12248-2210-4459-89e3-acb2dd10c338" providerId="ADAL" clId="{671D133E-469A-4763-9661-3DED79A05069}" dt="2024-01-08T14:43:38.465" v="2110" actId="478"/>
          <ac:graphicFrameMkLst>
            <pc:docMk/>
            <pc:sldMk cId="2147757826" sldId="422"/>
            <ac:graphicFrameMk id="9" creationId="{C78E0A4B-758F-40F4-B619-A22FD85128AA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4:55:08.431" v="2123" actId="478"/>
          <ac:graphicFrameMkLst>
            <pc:docMk/>
            <pc:sldMk cId="2147757826" sldId="422"/>
            <ac:graphicFrameMk id="12" creationId="{C78E0A4B-758F-40F4-B619-A22FD85128AA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4:55:22.459" v="2125" actId="478"/>
          <ac:graphicFrameMkLst>
            <pc:docMk/>
            <pc:sldMk cId="2147757826" sldId="422"/>
            <ac:graphicFrameMk id="15" creationId="{C78E0A4B-758F-40F4-B619-A22FD85128AA}"/>
          </ac:graphicFrameMkLst>
        </pc:graphicFrameChg>
        <pc:graphicFrameChg chg="del">
          <ac:chgData name="Ischanka, Eugen" userId="e4e12248-2210-4459-89e3-acb2dd10c338" providerId="ADAL" clId="{671D133E-469A-4763-9661-3DED79A05069}" dt="2024-01-08T14:41:54.312" v="2107" actId="478"/>
          <ac:graphicFrameMkLst>
            <pc:docMk/>
            <pc:sldMk cId="2147757826" sldId="422"/>
            <ac:graphicFrameMk id="16" creationId="{CF7E91CB-C849-C026-3620-F9BB88D7D0EB}"/>
          </ac:graphicFrameMkLst>
        </pc:graphicFrameChg>
        <pc:picChg chg="del">
          <ac:chgData name="Ischanka, Eugen" userId="e4e12248-2210-4459-89e3-acb2dd10c338" providerId="ADAL" clId="{671D133E-469A-4763-9661-3DED79A05069}" dt="2024-01-08T09:26:21.446" v="1360" actId="478"/>
          <ac:picMkLst>
            <pc:docMk/>
            <pc:sldMk cId="2147757826" sldId="422"/>
            <ac:picMk id="17" creationId="{C314A6CE-FC69-FBFE-815E-76110D11DDC3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143875857" sldId="422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1275413563" sldId="423"/>
        </pc:sldMkLst>
      </pc:sldChg>
      <pc:sldChg chg="addSp delSp modSp add del mod">
        <pc:chgData name="Ischanka, Eugen" userId="e4e12248-2210-4459-89e3-acb2dd10c338" providerId="ADAL" clId="{671D133E-469A-4763-9661-3DED79A05069}" dt="2024-01-09T08:55:39.319" v="3067" actId="47"/>
        <pc:sldMkLst>
          <pc:docMk/>
          <pc:sldMk cId="1439520020" sldId="423"/>
        </pc:sldMkLst>
        <pc:spChg chg="mod">
          <ac:chgData name="Ischanka, Eugen" userId="e4e12248-2210-4459-89e3-acb2dd10c338" providerId="ADAL" clId="{671D133E-469A-4763-9661-3DED79A05069}" dt="2024-01-08T15:51:00.432" v="2277" actId="20577"/>
          <ac:spMkLst>
            <pc:docMk/>
            <pc:sldMk cId="1439520020" sldId="423"/>
            <ac:spMk id="4" creationId="{392504C8-08B7-9D52-74B3-98E1830782DD}"/>
          </ac:spMkLst>
        </pc:spChg>
        <pc:graphicFrameChg chg="add del">
          <ac:chgData name="Ischanka, Eugen" userId="e4e12248-2210-4459-89e3-acb2dd10c338" providerId="ADAL" clId="{671D133E-469A-4763-9661-3DED79A05069}" dt="2024-01-09T08:36:54.799" v="2592" actId="478"/>
          <ac:graphicFrameMkLst>
            <pc:docMk/>
            <pc:sldMk cId="1439520020" sldId="423"/>
            <ac:graphicFrameMk id="7" creationId="{AC681FD7-CC26-8532-6108-05075C6EF552}"/>
          </ac:graphicFrameMkLst>
        </pc:graphicFrameChg>
        <pc:picChg chg="del">
          <ac:chgData name="Ischanka, Eugen" userId="e4e12248-2210-4459-89e3-acb2dd10c338" providerId="ADAL" clId="{671D133E-469A-4763-9661-3DED79A05069}" dt="2024-01-08T09:26:23.227" v="1361" actId="478"/>
          <ac:picMkLst>
            <pc:docMk/>
            <pc:sldMk cId="1439520020" sldId="423"/>
            <ac:picMk id="6" creationId="{64C7BBC7-00B1-396C-7145-8983BBA014D7}"/>
          </ac:picMkLst>
        </pc:picChg>
      </pc:sldChg>
      <pc:sldChg chg="addSp delSp modSp add del mod">
        <pc:chgData name="Ischanka, Eugen" userId="e4e12248-2210-4459-89e3-acb2dd10c338" providerId="ADAL" clId="{671D133E-469A-4763-9661-3DED79A05069}" dt="2024-01-09T09:11:24.658" v="3340" actId="47"/>
        <pc:sldMkLst>
          <pc:docMk/>
          <pc:sldMk cId="471265696" sldId="424"/>
        </pc:sldMkLst>
        <pc:spChg chg="mod">
          <ac:chgData name="Ischanka, Eugen" userId="e4e12248-2210-4459-89e3-acb2dd10c338" providerId="ADAL" clId="{671D133E-469A-4763-9661-3DED79A05069}" dt="2024-01-08T15:54:07.340" v="2546" actId="20577"/>
          <ac:spMkLst>
            <pc:docMk/>
            <pc:sldMk cId="471265696" sldId="424"/>
            <ac:spMk id="3" creationId="{326C6DDD-FEC7-F618-7526-02CFD05BC5D7}"/>
          </ac:spMkLst>
        </pc:spChg>
        <pc:spChg chg="mod">
          <ac:chgData name="Ischanka, Eugen" userId="e4e12248-2210-4459-89e3-acb2dd10c338" providerId="ADAL" clId="{671D133E-469A-4763-9661-3DED79A05069}" dt="2024-01-08T15:53:57.793" v="2519" actId="20577"/>
          <ac:spMkLst>
            <pc:docMk/>
            <pc:sldMk cId="471265696" sldId="424"/>
            <ac:spMk id="4" creationId="{B5E8BC01-7491-97C7-1D37-EAC01095744A}"/>
          </ac:spMkLst>
        </pc:spChg>
        <pc:spChg chg="add mod">
          <ac:chgData name="Ischanka, Eugen" userId="e4e12248-2210-4459-89e3-acb2dd10c338" providerId="ADAL" clId="{671D133E-469A-4763-9661-3DED79A05069}" dt="2024-01-09T09:11:08.959" v="3339" actId="478"/>
          <ac:spMkLst>
            <pc:docMk/>
            <pc:sldMk cId="471265696" sldId="424"/>
            <ac:spMk id="8" creationId="{9E7CE32C-522F-3750-B53C-65FE15EA565C}"/>
          </ac:spMkLst>
        </pc:spChg>
        <pc:graphicFrameChg chg="del">
          <ac:chgData name="Ischanka, Eugen" userId="e4e12248-2210-4459-89e3-acb2dd10c338" providerId="ADAL" clId="{671D133E-469A-4763-9661-3DED79A05069}" dt="2024-01-09T09:11:08.959" v="3339" actId="478"/>
          <ac:graphicFrameMkLst>
            <pc:docMk/>
            <pc:sldMk cId="471265696" sldId="424"/>
            <ac:graphicFrameMk id="5" creationId="{CD3844E0-58E8-FA4F-A088-71C47874EB60}"/>
          </ac:graphicFrameMkLst>
        </pc:graphicFrameChg>
        <pc:picChg chg="del">
          <ac:chgData name="Ischanka, Eugen" userId="e4e12248-2210-4459-89e3-acb2dd10c338" providerId="ADAL" clId="{671D133E-469A-4763-9661-3DED79A05069}" dt="2024-01-08T09:26:33.564" v="1366" actId="478"/>
          <ac:picMkLst>
            <pc:docMk/>
            <pc:sldMk cId="471265696" sldId="424"/>
            <ac:picMk id="8" creationId="{346853FC-9F20-4B73-DE50-1D9478795658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585576138" sldId="424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075484089" sldId="425"/>
        </pc:sldMkLst>
      </pc:sldChg>
      <pc:sldChg chg="delSp modSp add del mod">
        <pc:chgData name="Ischanka, Eugen" userId="e4e12248-2210-4459-89e3-acb2dd10c338" providerId="ADAL" clId="{671D133E-469A-4763-9661-3DED79A05069}" dt="2024-01-09T08:59:16.210" v="3168" actId="47"/>
        <pc:sldMkLst>
          <pc:docMk/>
          <pc:sldMk cId="2476901843" sldId="425"/>
        </pc:sldMkLst>
        <pc:spChg chg="mod">
          <ac:chgData name="Ischanka, Eugen" userId="e4e12248-2210-4459-89e3-acb2dd10c338" providerId="ADAL" clId="{671D133E-469A-4763-9661-3DED79A05069}" dt="2024-01-08T15:52:45.613" v="2393" actId="20577"/>
          <ac:spMkLst>
            <pc:docMk/>
            <pc:sldMk cId="2476901843" sldId="425"/>
            <ac:spMk id="3" creationId="{5422FF84-A844-0BB8-14FC-955581F1B1B4}"/>
          </ac:spMkLst>
        </pc:spChg>
        <pc:spChg chg="mod">
          <ac:chgData name="Ischanka, Eugen" userId="e4e12248-2210-4459-89e3-acb2dd10c338" providerId="ADAL" clId="{671D133E-469A-4763-9661-3DED79A05069}" dt="2024-01-08T15:52:09.774" v="2333" actId="20577"/>
          <ac:spMkLst>
            <pc:docMk/>
            <pc:sldMk cId="2476901843" sldId="425"/>
            <ac:spMk id="4" creationId="{FE1DD8D3-A197-B340-B78F-BC9DB81AA460}"/>
          </ac:spMkLst>
        </pc:spChg>
        <pc:picChg chg="del">
          <ac:chgData name="Ischanka, Eugen" userId="e4e12248-2210-4459-89e3-acb2dd10c338" providerId="ADAL" clId="{671D133E-469A-4763-9661-3DED79A05069}" dt="2024-01-08T09:26:27.678" v="1363" actId="478"/>
          <ac:picMkLst>
            <pc:docMk/>
            <pc:sldMk cId="2476901843" sldId="425"/>
            <ac:picMk id="2" creationId="{9EAE277E-B473-4786-3A31-9AC48B07F6F8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647160943" sldId="426"/>
        </pc:sldMkLst>
      </pc:sldChg>
      <pc:sldChg chg="delSp modSp add del mod">
        <pc:chgData name="Ischanka, Eugen" userId="e4e12248-2210-4459-89e3-acb2dd10c338" providerId="ADAL" clId="{671D133E-469A-4763-9661-3DED79A05069}" dt="2024-01-08T15:53:04.831" v="2414" actId="47"/>
        <pc:sldMkLst>
          <pc:docMk/>
          <pc:sldMk cId="3203928274" sldId="426"/>
        </pc:sldMkLst>
        <pc:spChg chg="mod">
          <ac:chgData name="Ischanka, Eugen" userId="e4e12248-2210-4459-89e3-acb2dd10c338" providerId="ADAL" clId="{671D133E-469A-4763-9661-3DED79A05069}" dt="2024-01-08T15:53:00.686" v="2413" actId="20577"/>
          <ac:spMkLst>
            <pc:docMk/>
            <pc:sldMk cId="3203928274" sldId="426"/>
            <ac:spMk id="3" creationId="{5422FF84-A844-0BB8-14FC-955581F1B1B4}"/>
          </ac:spMkLst>
        </pc:spChg>
        <pc:spChg chg="mod">
          <ac:chgData name="Ischanka, Eugen" userId="e4e12248-2210-4459-89e3-acb2dd10c338" providerId="ADAL" clId="{671D133E-469A-4763-9661-3DED79A05069}" dt="2024-01-08T15:52:56.636" v="2412" actId="20577"/>
          <ac:spMkLst>
            <pc:docMk/>
            <pc:sldMk cId="3203928274" sldId="426"/>
            <ac:spMk id="4" creationId="{FE1DD8D3-A197-B340-B78F-BC9DB81AA460}"/>
          </ac:spMkLst>
        </pc:spChg>
        <pc:picChg chg="del">
          <ac:chgData name="Ischanka, Eugen" userId="e4e12248-2210-4459-89e3-acb2dd10c338" providerId="ADAL" clId="{671D133E-469A-4763-9661-3DED79A05069}" dt="2024-01-08T09:26:29.398" v="1364" actId="478"/>
          <ac:picMkLst>
            <pc:docMk/>
            <pc:sldMk cId="3203928274" sldId="426"/>
            <ac:picMk id="6" creationId="{CCBDF111-59FF-26F2-CFE1-DB9E580582E6}"/>
          </ac:picMkLst>
        </pc:picChg>
      </pc:sldChg>
      <pc:sldChg chg="delSp modSp add del mod">
        <pc:chgData name="Ischanka, Eugen" userId="e4e12248-2210-4459-89e3-acb2dd10c338" providerId="ADAL" clId="{671D133E-469A-4763-9661-3DED79A05069}" dt="2024-01-09T08:58:58.167" v="3155" actId="47"/>
        <pc:sldMkLst>
          <pc:docMk/>
          <pc:sldMk cId="1281961580" sldId="427"/>
        </pc:sldMkLst>
        <pc:spChg chg="mod">
          <ac:chgData name="Ischanka, Eugen" userId="e4e12248-2210-4459-89e3-acb2dd10c338" providerId="ADAL" clId="{671D133E-469A-4763-9661-3DED79A05069}" dt="2024-01-08T15:51:54.506" v="2314" actId="20577"/>
          <ac:spMkLst>
            <pc:docMk/>
            <pc:sldMk cId="1281961580" sldId="427"/>
            <ac:spMk id="3" creationId="{326C6DDD-FEC7-F618-7526-02CFD05BC5D7}"/>
          </ac:spMkLst>
        </pc:spChg>
        <pc:spChg chg="mod">
          <ac:chgData name="Ischanka, Eugen" userId="e4e12248-2210-4459-89e3-acb2dd10c338" providerId="ADAL" clId="{671D133E-469A-4763-9661-3DED79A05069}" dt="2024-01-08T15:51:22.289" v="2296" actId="20577"/>
          <ac:spMkLst>
            <pc:docMk/>
            <pc:sldMk cId="1281961580" sldId="427"/>
            <ac:spMk id="4" creationId="{B5E8BC01-7491-97C7-1D37-EAC01095744A}"/>
          </ac:spMkLst>
        </pc:spChg>
        <pc:picChg chg="del">
          <ac:chgData name="Ischanka, Eugen" userId="e4e12248-2210-4459-89e3-acb2dd10c338" providerId="ADAL" clId="{671D133E-469A-4763-9661-3DED79A05069}" dt="2024-01-08T09:26:25.429" v="1362" actId="478"/>
          <ac:picMkLst>
            <pc:docMk/>
            <pc:sldMk cId="1281961580" sldId="427"/>
            <ac:picMk id="5" creationId="{40DF314D-A814-2AC6-7E3B-1CCCE0203C76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073229798" sldId="427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1324640595" sldId="428"/>
        </pc:sldMkLst>
      </pc:sldChg>
      <pc:sldChg chg="delSp modSp add del mod">
        <pc:chgData name="Ischanka, Eugen" userId="e4e12248-2210-4459-89e3-acb2dd10c338" providerId="ADAL" clId="{671D133E-469A-4763-9661-3DED79A05069}" dt="2024-01-09T09:08:09.048" v="3289" actId="47"/>
        <pc:sldMkLst>
          <pc:docMk/>
          <pc:sldMk cId="2030499884" sldId="428"/>
        </pc:sldMkLst>
        <pc:spChg chg="mod">
          <ac:chgData name="Ischanka, Eugen" userId="e4e12248-2210-4459-89e3-acb2dd10c338" providerId="ADAL" clId="{671D133E-469A-4763-9661-3DED79A05069}" dt="2024-01-08T15:53:38.473" v="2500" actId="20577"/>
          <ac:spMkLst>
            <pc:docMk/>
            <pc:sldMk cId="2030499884" sldId="428"/>
            <ac:spMk id="3" creationId="{326C6DDD-FEC7-F618-7526-02CFD05BC5D7}"/>
          </ac:spMkLst>
        </pc:spChg>
        <pc:spChg chg="mod">
          <ac:chgData name="Ischanka, Eugen" userId="e4e12248-2210-4459-89e3-acb2dd10c338" providerId="ADAL" clId="{671D133E-469A-4763-9661-3DED79A05069}" dt="2024-01-08T15:53:13.675" v="2437" actId="20577"/>
          <ac:spMkLst>
            <pc:docMk/>
            <pc:sldMk cId="2030499884" sldId="428"/>
            <ac:spMk id="4" creationId="{B5E8BC01-7491-97C7-1D37-EAC01095744A}"/>
          </ac:spMkLst>
        </pc:spChg>
        <pc:picChg chg="del">
          <ac:chgData name="Ischanka, Eugen" userId="e4e12248-2210-4459-89e3-acb2dd10c338" providerId="ADAL" clId="{671D133E-469A-4763-9661-3DED79A05069}" dt="2024-01-08T09:26:31.116" v="1365" actId="478"/>
          <ac:picMkLst>
            <pc:docMk/>
            <pc:sldMk cId="2030499884" sldId="428"/>
            <ac:picMk id="8" creationId="{346853FC-9F20-4B73-DE50-1D9478795658}"/>
          </ac:picMkLst>
        </pc:picChg>
      </pc:sldChg>
      <pc:sldChg chg="addSp delSp modSp add del mod">
        <pc:chgData name="Ischanka, Eugen" userId="e4e12248-2210-4459-89e3-acb2dd10c338" providerId="ADAL" clId="{671D133E-469A-4763-9661-3DED79A05069}" dt="2024-01-09T09:12:27.532" v="3375" actId="47"/>
        <pc:sldMkLst>
          <pc:docMk/>
          <pc:sldMk cId="2707950540" sldId="429"/>
        </pc:sldMkLst>
        <pc:spChg chg="mod">
          <ac:chgData name="Ischanka, Eugen" userId="e4e12248-2210-4459-89e3-acb2dd10c338" providerId="ADAL" clId="{671D133E-469A-4763-9661-3DED79A05069}" dt="2024-01-08T15:54:26.632" v="2590" actId="20577"/>
          <ac:spMkLst>
            <pc:docMk/>
            <pc:sldMk cId="2707950540" sldId="429"/>
            <ac:spMk id="3" creationId="{DB226DE1-6D1C-11C9-B0E1-5B78D311A223}"/>
          </ac:spMkLst>
        </pc:spChg>
        <pc:spChg chg="mod">
          <ac:chgData name="Ischanka, Eugen" userId="e4e12248-2210-4459-89e3-acb2dd10c338" providerId="ADAL" clId="{671D133E-469A-4763-9661-3DED79A05069}" dt="2024-01-08T15:54:15.250" v="2565" actId="20577"/>
          <ac:spMkLst>
            <pc:docMk/>
            <pc:sldMk cId="2707950540" sldId="429"/>
            <ac:spMk id="4" creationId="{F6D93135-8BE9-255B-10E9-986B3C3AC996}"/>
          </ac:spMkLst>
        </pc:spChg>
        <pc:spChg chg="add mod">
          <ac:chgData name="Ischanka, Eugen" userId="e4e12248-2210-4459-89e3-acb2dd10c338" providerId="ADAL" clId="{671D133E-469A-4763-9661-3DED79A05069}" dt="2024-01-09T09:12:23.705" v="3374" actId="478"/>
          <ac:spMkLst>
            <pc:docMk/>
            <pc:sldMk cId="2707950540" sldId="429"/>
            <ac:spMk id="6" creationId="{4FA0B295-98D7-0D8E-5924-BF27161E8AE4}"/>
          </ac:spMkLst>
        </pc:spChg>
        <pc:graphicFrameChg chg="del">
          <ac:chgData name="Ischanka, Eugen" userId="e4e12248-2210-4459-89e3-acb2dd10c338" providerId="ADAL" clId="{671D133E-469A-4763-9661-3DED79A05069}" dt="2024-01-09T09:12:23.705" v="3374" actId="478"/>
          <ac:graphicFrameMkLst>
            <pc:docMk/>
            <pc:sldMk cId="2707950540" sldId="429"/>
            <ac:graphicFrameMk id="15" creationId="{44E1FBB7-5FCE-4065-B48D-1B6C96025C72}"/>
          </ac:graphicFrameMkLst>
        </pc:graphicFrameChg>
        <pc:picChg chg="del">
          <ac:chgData name="Ischanka, Eugen" userId="e4e12248-2210-4459-89e3-acb2dd10c338" providerId="ADAL" clId="{671D133E-469A-4763-9661-3DED79A05069}" dt="2024-01-08T09:26:35.558" v="1367" actId="478"/>
          <ac:picMkLst>
            <pc:docMk/>
            <pc:sldMk cId="2707950540" sldId="429"/>
            <ac:picMk id="7" creationId="{074F836D-A0F8-FA87-946A-7666DC247B81}"/>
          </ac:picMkLst>
        </pc:picChg>
      </pc:sldChg>
      <pc:sldChg chg="addSp delSp modSp new del mod modClrScheme chgLayout">
        <pc:chgData name="Ischanka, Eugen" userId="e4e12248-2210-4459-89e3-acb2dd10c338" providerId="ADAL" clId="{671D133E-469A-4763-9661-3DED79A05069}" dt="2024-01-08T09:57:06.645" v="1388" actId="47"/>
        <pc:sldMkLst>
          <pc:docMk/>
          <pc:sldMk cId="1255616611" sldId="430"/>
        </pc:sldMkLst>
        <pc:spChg chg="del mod ord">
          <ac:chgData name="Ischanka, Eugen" userId="e4e12248-2210-4459-89e3-acb2dd10c338" providerId="ADAL" clId="{671D133E-469A-4763-9661-3DED79A05069}" dt="2024-01-08T09:55:50.900" v="1375" actId="700"/>
          <ac:spMkLst>
            <pc:docMk/>
            <pc:sldMk cId="1255616611" sldId="430"/>
            <ac:spMk id="2" creationId="{E56B2A6E-876B-820B-0B32-BA55884249A6}"/>
          </ac:spMkLst>
        </pc:spChg>
        <pc:spChg chg="del mod ord">
          <ac:chgData name="Ischanka, Eugen" userId="e4e12248-2210-4459-89e3-acb2dd10c338" providerId="ADAL" clId="{671D133E-469A-4763-9661-3DED79A05069}" dt="2024-01-08T09:55:50.900" v="1375" actId="700"/>
          <ac:spMkLst>
            <pc:docMk/>
            <pc:sldMk cId="1255616611" sldId="430"/>
            <ac:spMk id="3" creationId="{72563E90-C6E2-6A6F-698A-CFA17EE70BB9}"/>
          </ac:spMkLst>
        </pc:spChg>
        <pc:spChg chg="del mod ord">
          <ac:chgData name="Ischanka, Eugen" userId="e4e12248-2210-4459-89e3-acb2dd10c338" providerId="ADAL" clId="{671D133E-469A-4763-9661-3DED79A05069}" dt="2024-01-08T09:55:50.900" v="1375" actId="700"/>
          <ac:spMkLst>
            <pc:docMk/>
            <pc:sldMk cId="1255616611" sldId="430"/>
            <ac:spMk id="4" creationId="{A7E0F3E6-64BF-53F9-72BA-E070CE241C1F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5" creationId="{184B23BA-2B85-0533-3E52-830F9B8FB75E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6" creationId="{4A5DB7C8-5463-474A-0247-AD8690DEC033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7" creationId="{80C803CD-BF57-3BB1-9DE9-69ED36B7EEBE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8" creationId="{3297D5C1-B6D8-C2BB-2664-5787D21D2BF2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9" creationId="{D13DDB3B-F502-6941-0FCF-5BD41475BAF0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10" creationId="{9CA1B202-A14F-076A-9866-889EF7035489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11" creationId="{713A8937-1595-4168-4C47-D307AB4171B7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12" creationId="{0FB8D59D-2E22-1C02-CF99-1A929A4452F6}"/>
          </ac:spMkLst>
        </pc:spChg>
      </pc:sldChg>
      <pc:sldChg chg="modSp add del mod">
        <pc:chgData name="Ischanka, Eugen" userId="e4e12248-2210-4459-89e3-acb2dd10c338" providerId="ADAL" clId="{671D133E-469A-4763-9661-3DED79A05069}" dt="2024-01-08T10:42:50.564" v="1878" actId="47"/>
        <pc:sldMkLst>
          <pc:docMk/>
          <pc:sldMk cId="2422978449" sldId="430"/>
        </pc:sldMkLst>
        <pc:graphicFrameChg chg="modGraphic">
          <ac:chgData name="Ischanka, Eugen" userId="e4e12248-2210-4459-89e3-acb2dd10c338" providerId="ADAL" clId="{671D133E-469A-4763-9661-3DED79A05069}" dt="2024-01-08T10:27:20.281" v="1600" actId="20577"/>
          <ac:graphicFrameMkLst>
            <pc:docMk/>
            <pc:sldMk cId="2422978449" sldId="430"/>
            <ac:graphicFrameMk id="42" creationId="{3096BA0E-0B24-9AF7-4F08-508E7F47C9F9}"/>
          </ac:graphicFrameMkLst>
        </pc:graphicFrameChg>
      </pc:sldChg>
      <pc:sldChg chg="addSp delSp modSp add mod ord modClrScheme chgLayout">
        <pc:chgData name="Ischanka, Eugen" userId="e4e12248-2210-4459-89e3-acb2dd10c338" providerId="ADAL" clId="{671D133E-469A-4763-9661-3DED79A05069}" dt="2024-01-15T12:53:48.935" v="3635" actId="113"/>
        <pc:sldMkLst>
          <pc:docMk/>
          <pc:sldMk cId="2881209425" sldId="431"/>
        </pc:sldMkLst>
        <pc:spChg chg="del mod ord">
          <ac:chgData name="Ischanka, Eugen" userId="e4e12248-2210-4459-89e3-acb2dd10c338" providerId="ADAL" clId="{671D133E-469A-4763-9661-3DED79A05069}" dt="2024-01-08T10:43:11.496" v="1879" actId="700"/>
          <ac:spMkLst>
            <pc:docMk/>
            <pc:sldMk cId="2881209425" sldId="431"/>
            <ac:spMk id="2" creationId="{3746F857-CDEB-C0C9-CAED-DD7B0F67E0ED}"/>
          </ac:spMkLst>
        </pc:spChg>
        <pc:spChg chg="mod ord">
          <ac:chgData name="Ischanka, Eugen" userId="e4e12248-2210-4459-89e3-acb2dd10c338" providerId="ADAL" clId="{671D133E-469A-4763-9661-3DED79A05069}" dt="2024-01-08T12:07:00.905" v="1915" actId="700"/>
          <ac:spMkLst>
            <pc:docMk/>
            <pc:sldMk cId="2881209425" sldId="431"/>
            <ac:spMk id="3" creationId="{B5181DB0-2B58-0113-7830-B041253D70A6}"/>
          </ac:spMkLst>
        </pc:spChg>
        <pc:spChg chg="mod ord">
          <ac:chgData name="Ischanka, Eugen" userId="e4e12248-2210-4459-89e3-acb2dd10c338" providerId="ADAL" clId="{671D133E-469A-4763-9661-3DED79A05069}" dt="2024-01-08T12:07:00.905" v="1915" actId="700"/>
          <ac:spMkLst>
            <pc:docMk/>
            <pc:sldMk cId="2881209425" sldId="431"/>
            <ac:spMk id="4" creationId="{EC4D51B0-7A2D-8FE6-B170-2824A865A549}"/>
          </ac:spMkLst>
        </pc:spChg>
        <pc:spChg chg="add del mod ord">
          <ac:chgData name="Ischanka, Eugen" userId="e4e12248-2210-4459-89e3-acb2dd10c338" providerId="ADAL" clId="{671D133E-469A-4763-9661-3DED79A05069}" dt="2024-01-08T12:02:33.778" v="1888" actId="700"/>
          <ac:spMkLst>
            <pc:docMk/>
            <pc:sldMk cId="2881209425" sldId="431"/>
            <ac:spMk id="5" creationId="{2983307E-ADCA-D433-7422-DE55C97B8F1F}"/>
          </ac:spMkLst>
        </pc:spChg>
        <pc:spChg chg="del mod ord">
          <ac:chgData name="Ischanka, Eugen" userId="e4e12248-2210-4459-89e3-acb2dd10c338" providerId="ADAL" clId="{671D133E-469A-4763-9661-3DED79A05069}" dt="2024-01-08T10:43:11.496" v="1879" actId="700"/>
          <ac:spMkLst>
            <pc:docMk/>
            <pc:sldMk cId="2881209425" sldId="431"/>
            <ac:spMk id="6" creationId="{B2E3199D-5FFA-FC38-9278-A19E2C320E66}"/>
          </ac:spMkLst>
        </pc:spChg>
        <pc:spChg chg="add del mod ord">
          <ac:chgData name="Ischanka, Eugen" userId="e4e12248-2210-4459-89e3-acb2dd10c338" providerId="ADAL" clId="{671D133E-469A-4763-9661-3DED79A05069}" dt="2024-01-08T10:43:59.183" v="1884"/>
          <ac:spMkLst>
            <pc:docMk/>
            <pc:sldMk cId="2881209425" sldId="431"/>
            <ac:spMk id="7" creationId="{EE30FE22-AFDB-8412-BFAD-81C2C577213B}"/>
          </ac:spMkLst>
        </pc:spChg>
        <pc:spChg chg="add del mod">
          <ac:chgData name="Ischanka, Eugen" userId="e4e12248-2210-4459-89e3-acb2dd10c338" providerId="ADAL" clId="{671D133E-469A-4763-9661-3DED79A05069}" dt="2024-01-08T12:02:33.778" v="1888" actId="700"/>
          <ac:spMkLst>
            <pc:docMk/>
            <pc:sldMk cId="2881209425" sldId="431"/>
            <ac:spMk id="10" creationId="{442F6413-B484-D02E-B90C-AED24D87187A}"/>
          </ac:spMkLst>
        </pc:spChg>
        <pc:spChg chg="add del mod ord">
          <ac:chgData name="Ischanka, Eugen" userId="e4e12248-2210-4459-89e3-acb2dd10c338" providerId="ADAL" clId="{671D133E-469A-4763-9661-3DED79A05069}" dt="2024-01-08T12:02:49.797" v="1889"/>
          <ac:spMkLst>
            <pc:docMk/>
            <pc:sldMk cId="2881209425" sldId="431"/>
            <ac:spMk id="11" creationId="{B93DE713-3EAB-9406-656F-497AE67EE8AD}"/>
          </ac:spMkLst>
        </pc:spChg>
        <pc:spChg chg="add del mod">
          <ac:chgData name="Ischanka, Eugen" userId="e4e12248-2210-4459-89e3-acb2dd10c338" providerId="ADAL" clId="{671D133E-469A-4763-9661-3DED79A05069}" dt="2024-01-08T12:03:43.225" v="1891"/>
          <ac:spMkLst>
            <pc:docMk/>
            <pc:sldMk cId="2881209425" sldId="431"/>
            <ac:spMk id="14" creationId="{FB31D505-0849-25CC-7BCC-381D62A65D29}"/>
          </ac:spMkLst>
        </pc:spChg>
        <pc:spChg chg="add del mod ord">
          <ac:chgData name="Ischanka, Eugen" userId="e4e12248-2210-4459-89e3-acb2dd10c338" providerId="ADAL" clId="{671D133E-469A-4763-9661-3DED79A05069}" dt="2024-01-08T12:04:43.398" v="1894"/>
          <ac:spMkLst>
            <pc:docMk/>
            <pc:sldMk cId="2881209425" sldId="431"/>
            <ac:spMk id="16" creationId="{00686525-697F-0EB5-F37F-A60E43BF9C1A}"/>
          </ac:spMkLst>
        </pc:spChg>
        <pc:spChg chg="add mod ord">
          <ac:chgData name="Ischanka, Eugen" userId="e4e12248-2210-4459-89e3-acb2dd10c338" providerId="ADAL" clId="{671D133E-469A-4763-9661-3DED79A05069}" dt="2024-01-08T12:21:43.625" v="2094" actId="1076"/>
          <ac:spMkLst>
            <pc:docMk/>
            <pc:sldMk cId="2881209425" sldId="431"/>
            <ac:spMk id="17" creationId="{161E6A53-50CE-8E37-4DC3-E8F3D2FF4B6F}"/>
          </ac:spMkLst>
        </pc:spChg>
        <pc:spChg chg="add del mod ord">
          <ac:chgData name="Ischanka, Eugen" userId="e4e12248-2210-4459-89e3-acb2dd10c338" providerId="ADAL" clId="{671D133E-469A-4763-9661-3DED79A05069}" dt="2024-01-08T12:07:00.905" v="1915" actId="700"/>
          <ac:spMkLst>
            <pc:docMk/>
            <pc:sldMk cId="2881209425" sldId="431"/>
            <ac:spMk id="19" creationId="{B3C3EA91-47E2-E399-D135-940B737562D7}"/>
          </ac:spMkLst>
        </pc:spChg>
        <pc:spChg chg="add del mod ord">
          <ac:chgData name="Ischanka, Eugen" userId="e4e12248-2210-4459-89e3-acb2dd10c338" providerId="ADAL" clId="{671D133E-469A-4763-9661-3DED79A05069}" dt="2024-01-08T12:07:17.615" v="1916"/>
          <ac:spMkLst>
            <pc:docMk/>
            <pc:sldMk cId="2881209425" sldId="431"/>
            <ac:spMk id="20" creationId="{A6324706-E3F9-5C11-E781-FA7AD59EAF8C}"/>
          </ac:spMkLst>
        </pc:spChg>
        <pc:spChg chg="add mod ord">
          <ac:chgData name="Ischanka, Eugen" userId="e4e12248-2210-4459-89e3-acb2dd10c338" providerId="ADAL" clId="{671D133E-469A-4763-9661-3DED79A05069}" dt="2024-01-15T12:53:48.935" v="3635" actId="113"/>
          <ac:spMkLst>
            <pc:docMk/>
            <pc:sldMk cId="2881209425" sldId="431"/>
            <ac:spMk id="25" creationId="{7CDB75D0-C1B0-2004-5363-695C5267A347}"/>
          </ac:spMkLst>
        </pc:spChg>
        <pc:spChg chg="add mod ord">
          <ac:chgData name="Ischanka, Eugen" userId="e4e12248-2210-4459-89e3-acb2dd10c338" providerId="ADAL" clId="{671D133E-469A-4763-9661-3DED79A05069}" dt="2024-01-15T12:53:48.935" v="3635" actId="113"/>
          <ac:spMkLst>
            <pc:docMk/>
            <pc:sldMk cId="2881209425" sldId="431"/>
            <ac:spMk id="26" creationId="{0544578A-5BF7-F5DB-91B2-28E1E3787398}"/>
          </ac:spMkLst>
        </pc:spChg>
        <pc:spChg chg="add mod ord">
          <ac:chgData name="Ischanka, Eugen" userId="e4e12248-2210-4459-89e3-acb2dd10c338" providerId="ADAL" clId="{671D133E-469A-4763-9661-3DED79A05069}" dt="2024-01-15T12:53:48.935" v="3635" actId="113"/>
          <ac:spMkLst>
            <pc:docMk/>
            <pc:sldMk cId="2881209425" sldId="431"/>
            <ac:spMk id="27" creationId="{B648EAEF-6B8B-B063-0B09-FAFABB3BDB25}"/>
          </ac:spMkLst>
        </pc:spChg>
        <pc:spChg chg="add del mod ord">
          <ac:chgData name="Ischanka, Eugen" userId="e4e12248-2210-4459-89e3-acb2dd10c338" providerId="ADAL" clId="{671D133E-469A-4763-9661-3DED79A05069}" dt="2024-01-08T12:20:54.456" v="2087"/>
          <ac:spMkLst>
            <pc:docMk/>
            <pc:sldMk cId="2881209425" sldId="431"/>
            <ac:spMk id="29" creationId="{41898730-E9C8-82CA-7F4B-47C16DF63BB7}"/>
          </ac:spMkLst>
        </pc:spChg>
        <pc:spChg chg="add del mod ord">
          <ac:chgData name="Ischanka, Eugen" userId="e4e12248-2210-4459-89e3-acb2dd10c338" providerId="ADAL" clId="{671D133E-469A-4763-9661-3DED79A05069}" dt="2024-01-08T14:53:21.753" v="2117"/>
          <ac:spMkLst>
            <pc:docMk/>
            <pc:sldMk cId="2881209425" sldId="431"/>
            <ac:spMk id="32" creationId="{FFCACEEE-330D-41EC-2644-066B6DC0EDB4}"/>
          </ac:spMkLst>
        </pc:spChg>
        <pc:spChg chg="add mod ord">
          <ac:chgData name="Ischanka, Eugen" userId="e4e12248-2210-4459-89e3-acb2dd10c338" providerId="ADAL" clId="{671D133E-469A-4763-9661-3DED79A05069}" dt="2024-01-08T14:55:33.338" v="2127" actId="207"/>
          <ac:spMkLst>
            <pc:docMk/>
            <pc:sldMk cId="2881209425" sldId="431"/>
            <ac:spMk id="35" creationId="{9F80F48A-2146-676D-07EE-01F723E9F20C}"/>
          </ac:spMkLst>
        </pc:spChg>
        <pc:graphicFrameChg chg="add del mod">
          <ac:chgData name="Ischanka, Eugen" userId="e4e12248-2210-4459-89e3-acb2dd10c338" providerId="ADAL" clId="{671D133E-469A-4763-9661-3DED79A05069}" dt="2024-01-08T12:02:16.969" v="1885" actId="478"/>
          <ac:graphicFrameMkLst>
            <pc:docMk/>
            <pc:sldMk cId="2881209425" sldId="431"/>
            <ac:graphicFrameMk id="8" creationId="{D6706776-7B35-7F04-0E2C-43C169D9B6C6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2:03:13.886" v="1890" actId="478"/>
          <ac:graphicFrameMkLst>
            <pc:docMk/>
            <pc:sldMk cId="2881209425" sldId="431"/>
            <ac:graphicFrameMk id="12" creationId="{D6706776-7B35-7F04-0E2C-43C169D9B6C6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2:06:51.387" v="1914" actId="478"/>
          <ac:graphicFrameMkLst>
            <pc:docMk/>
            <pc:sldMk cId="2881209425" sldId="431"/>
            <ac:graphicFrameMk id="15" creationId="{D6706776-7B35-7F04-0E2C-43C169D9B6C6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2:18:32.015" v="2072" actId="478"/>
          <ac:graphicFrameMkLst>
            <pc:docMk/>
            <pc:sldMk cId="2881209425" sldId="431"/>
            <ac:graphicFrameMk id="21" creationId="{D6706776-7B35-7F04-0E2C-43C169D9B6C6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15T12:53:22.729" v="3633" actId="13926"/>
          <ac:graphicFrameMkLst>
            <pc:docMk/>
            <pc:sldMk cId="2881209425" sldId="431"/>
            <ac:graphicFrameMk id="22" creationId="{7E7C8921-3C6E-55D9-B15F-4B17E9CCF381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8:55:05.699" v="3060" actId="113"/>
          <ac:graphicFrameMkLst>
            <pc:docMk/>
            <pc:sldMk cId="2881209425" sldId="431"/>
            <ac:graphicFrameMk id="23" creationId="{3947BD09-CC15-6763-DD87-5F791F914FC8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2:13:43.667" v="2017" actId="478"/>
          <ac:graphicFrameMkLst>
            <pc:docMk/>
            <pc:sldMk cId="2881209425" sldId="431"/>
            <ac:graphicFrameMk id="24" creationId="{EBABAB69-35F1-4029-43DC-8F977F86770E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2:22:01.994" v="2097" actId="478"/>
          <ac:graphicFrameMkLst>
            <pc:docMk/>
            <pc:sldMk cId="2881209425" sldId="431"/>
            <ac:graphicFrameMk id="30" creationId="{D6706776-7B35-7F04-0E2C-43C169D9B6C6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4:53:57.293" v="2121" actId="478"/>
          <ac:graphicFrameMkLst>
            <pc:docMk/>
            <pc:sldMk cId="2881209425" sldId="431"/>
            <ac:graphicFrameMk id="33" creationId="{423290AC-BE14-F4F2-24C1-30AA363C7A5E}"/>
          </ac:graphicFrameMkLst>
        </pc:graphicFrameChg>
      </pc:sldChg>
      <pc:sldChg chg="add del">
        <pc:chgData name="Ischanka, Eugen" userId="e4e12248-2210-4459-89e3-acb2dd10c338" providerId="ADAL" clId="{671D133E-469A-4763-9661-3DED79A05069}" dt="2024-01-08T14:44:22.763" v="2116" actId="47"/>
        <pc:sldMkLst>
          <pc:docMk/>
          <pc:sldMk cId="3531161385" sldId="432"/>
        </pc:sldMkLst>
      </pc:sldChg>
      <pc:sldChg chg="addSp delSp modSp new mod ord modClrScheme chgLayout">
        <pc:chgData name="Ischanka, Eugen" userId="e4e12248-2210-4459-89e3-acb2dd10c338" providerId="ADAL" clId="{671D133E-469A-4763-9661-3DED79A05069}" dt="2024-01-11T14:50:19.430" v="3558" actId="207"/>
        <pc:sldMkLst>
          <pc:docMk/>
          <pc:sldMk cId="4110601905" sldId="432"/>
        </pc:sldMkLst>
        <pc:spChg chg="del mod ord">
          <ac:chgData name="Ischanka, Eugen" userId="e4e12248-2210-4459-89e3-acb2dd10c338" providerId="ADAL" clId="{671D133E-469A-4763-9661-3DED79A05069}" dt="2024-01-09T08:37:28.681" v="2617" actId="700"/>
          <ac:spMkLst>
            <pc:docMk/>
            <pc:sldMk cId="4110601905" sldId="432"/>
            <ac:spMk id="2" creationId="{C9172774-A692-AEE4-8835-9215ACEE97AB}"/>
          </ac:spMkLst>
        </pc:spChg>
        <pc:spChg chg="mod ord">
          <ac:chgData name="Ischanka, Eugen" userId="e4e12248-2210-4459-89e3-acb2dd10c338" providerId="ADAL" clId="{671D133E-469A-4763-9661-3DED79A05069}" dt="2024-01-09T08:37:33.610" v="2618" actId="700"/>
          <ac:spMkLst>
            <pc:docMk/>
            <pc:sldMk cId="4110601905" sldId="432"/>
            <ac:spMk id="3" creationId="{5A8B5A2B-DD06-4AB9-F0DA-4C7EBC32EF17}"/>
          </ac:spMkLst>
        </pc:spChg>
        <pc:spChg chg="mod ord">
          <ac:chgData name="Ischanka, Eugen" userId="e4e12248-2210-4459-89e3-acb2dd10c338" providerId="ADAL" clId="{671D133E-469A-4763-9661-3DED79A05069}" dt="2024-01-09T08:37:33.610" v="2618" actId="700"/>
          <ac:spMkLst>
            <pc:docMk/>
            <pc:sldMk cId="4110601905" sldId="432"/>
            <ac:spMk id="4" creationId="{51C5D8CB-F66A-54FA-A027-9BDFF52BFE9A}"/>
          </ac:spMkLst>
        </pc:spChg>
        <pc:spChg chg="add del mod ord">
          <ac:chgData name="Ischanka, Eugen" userId="e4e12248-2210-4459-89e3-acb2dd10c338" providerId="ADAL" clId="{671D133E-469A-4763-9661-3DED79A05069}" dt="2024-01-09T08:37:33.610" v="2618" actId="700"/>
          <ac:spMkLst>
            <pc:docMk/>
            <pc:sldMk cId="4110601905" sldId="432"/>
            <ac:spMk id="5" creationId="{48BC7DA4-9745-DCD5-D567-4E4901C33752}"/>
          </ac:spMkLst>
        </pc:spChg>
        <pc:spChg chg="add del mod ord">
          <ac:chgData name="Ischanka, Eugen" userId="e4e12248-2210-4459-89e3-acb2dd10c338" providerId="ADAL" clId="{671D133E-469A-4763-9661-3DED79A05069}" dt="2024-01-09T08:38:38.320" v="2620" actId="478"/>
          <ac:spMkLst>
            <pc:docMk/>
            <pc:sldMk cId="4110601905" sldId="432"/>
            <ac:spMk id="6" creationId="{14DE1187-DB88-3FCD-DAB2-6413926092B9}"/>
          </ac:spMkLst>
        </pc:spChg>
        <pc:spChg chg="add mod ord">
          <ac:chgData name="Ischanka, Eugen" userId="e4e12248-2210-4459-89e3-acb2dd10c338" providerId="ADAL" clId="{671D133E-469A-4763-9661-3DED79A05069}" dt="2024-01-11T14:50:19.430" v="3558" actId="207"/>
          <ac:spMkLst>
            <pc:docMk/>
            <pc:sldMk cId="4110601905" sldId="432"/>
            <ac:spMk id="6" creationId="{309B9ED7-90CB-33C4-9085-DFBB4F2EBF2C}"/>
          </ac:spMkLst>
        </pc:spChg>
        <pc:spChg chg="add del mod ord">
          <ac:chgData name="Ischanka, Eugen" userId="e4e12248-2210-4459-89e3-acb2dd10c338" providerId="ADAL" clId="{671D133E-469A-4763-9661-3DED79A05069}" dt="2024-01-09T08:40:35.117" v="2709"/>
          <ac:spMkLst>
            <pc:docMk/>
            <pc:sldMk cId="4110601905" sldId="432"/>
            <ac:spMk id="7" creationId="{83CF6562-2DF8-70C5-57FE-E35886BFF006}"/>
          </ac:spMkLst>
        </pc:spChg>
        <pc:spChg chg="add mod">
          <ac:chgData name="Ischanka, Eugen" userId="e4e12248-2210-4459-89e3-acb2dd10c338" providerId="ADAL" clId="{671D133E-469A-4763-9661-3DED79A05069}" dt="2024-01-09T08:47:17.900" v="2965" actId="13926"/>
          <ac:spMkLst>
            <pc:docMk/>
            <pc:sldMk cId="4110601905" sldId="432"/>
            <ac:spMk id="10" creationId="{E3B25AE4-3098-D175-8F15-D24D4D7A7512}"/>
          </ac:spMkLst>
        </pc:spChg>
        <pc:spChg chg="add del mod ord">
          <ac:chgData name="Ischanka, Eugen" userId="e4e12248-2210-4459-89e3-acb2dd10c338" providerId="ADAL" clId="{671D133E-469A-4763-9661-3DED79A05069}" dt="2024-01-11T09:22:52.799" v="3554"/>
          <ac:spMkLst>
            <pc:docMk/>
            <pc:sldMk cId="4110601905" sldId="432"/>
            <ac:spMk id="13" creationId="{AB311278-905E-5E21-F5A9-705195E4A9CE}"/>
          </ac:spMkLst>
        </pc:spChg>
        <pc:spChg chg="add mod">
          <ac:chgData name="Ischanka, Eugen" userId="e4e12248-2210-4459-89e3-acb2dd10c338" providerId="ADAL" clId="{671D133E-469A-4763-9661-3DED79A05069}" dt="2024-01-09T09:17:35.803" v="3553" actId="1076"/>
          <ac:spMkLst>
            <pc:docMk/>
            <pc:sldMk cId="4110601905" sldId="432"/>
            <ac:spMk id="14" creationId="{8C4767AB-F077-7248-F541-072F1FEDD8A3}"/>
          </ac:spMkLst>
        </pc:spChg>
        <pc:graphicFrameChg chg="add del mod ord">
          <ac:chgData name="Ischanka, Eugen" userId="e4e12248-2210-4459-89e3-acb2dd10c338" providerId="ADAL" clId="{671D133E-469A-4763-9661-3DED79A05069}" dt="2024-01-11T09:23:25.766" v="3556" actId="478"/>
          <ac:graphicFrameMkLst>
            <pc:docMk/>
            <pc:sldMk cId="4110601905" sldId="432"/>
            <ac:graphicFrameMk id="2" creationId="{74EF0C76-5D0B-D98C-9994-232DB68CA9CE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8:56:20.225" v="3074" actId="20577"/>
          <ac:graphicFrameMkLst>
            <pc:docMk/>
            <pc:sldMk cId="4110601905" sldId="432"/>
            <ac:graphicFrameMk id="8" creationId="{3E6EF96B-3E05-494A-9086-F277ABC3428B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9T08:52:46.601" v="3057" actId="478"/>
          <ac:graphicFrameMkLst>
            <pc:docMk/>
            <pc:sldMk cId="4110601905" sldId="432"/>
            <ac:graphicFrameMk id="9" creationId="{74EF0C76-5D0B-D98C-9994-232DB68CA9CE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9:16:30.607" v="3473" actId="13926"/>
          <ac:graphicFrameMkLst>
            <pc:docMk/>
            <pc:sldMk cId="4110601905" sldId="432"/>
            <ac:graphicFrameMk id="11" creationId="{0EECB15D-7F8F-FE5F-9C4D-72FC280F523A}"/>
          </ac:graphicFrameMkLst>
        </pc:graphicFrameChg>
      </pc:sldChg>
      <pc:sldChg chg="addSp delSp modSp add mod modClrScheme chgLayout">
        <pc:chgData name="Ischanka, Eugen" userId="e4e12248-2210-4459-89e3-acb2dd10c338" providerId="ADAL" clId="{671D133E-469A-4763-9661-3DED79A05069}" dt="2024-01-09T08:58:40.402" v="3154" actId="478"/>
        <pc:sldMkLst>
          <pc:docMk/>
          <pc:sldMk cId="1084793732" sldId="433"/>
        </pc:sldMkLst>
        <pc:spChg chg="add del mod ord">
          <ac:chgData name="Ischanka, Eugen" userId="e4e12248-2210-4459-89e3-acb2dd10c338" providerId="ADAL" clId="{671D133E-469A-4763-9661-3DED79A05069}" dt="2024-01-09T08:58:07.049" v="3153"/>
          <ac:spMkLst>
            <pc:docMk/>
            <pc:sldMk cId="1084793732" sldId="433"/>
            <ac:spMk id="2" creationId="{45F7A3F8-D695-4F05-F39B-2797AACEFA76}"/>
          </ac:spMkLst>
        </pc:spChg>
        <pc:spChg chg="mod ord">
          <ac:chgData name="Ischanka, Eugen" userId="e4e12248-2210-4459-89e3-acb2dd10c338" providerId="ADAL" clId="{671D133E-469A-4763-9661-3DED79A05069}" dt="2024-01-09T08:57:42.740" v="3152" actId="700"/>
          <ac:spMkLst>
            <pc:docMk/>
            <pc:sldMk cId="1084793732" sldId="433"/>
            <ac:spMk id="3" creationId="{5A8B5A2B-DD06-4AB9-F0DA-4C7EBC32EF17}"/>
          </ac:spMkLst>
        </pc:spChg>
        <pc:spChg chg="mod ord">
          <ac:chgData name="Ischanka, Eugen" userId="e4e12248-2210-4459-89e3-acb2dd10c338" providerId="ADAL" clId="{671D133E-469A-4763-9661-3DED79A05069}" dt="2024-01-09T08:57:42.740" v="3152" actId="700"/>
          <ac:spMkLst>
            <pc:docMk/>
            <pc:sldMk cId="1084793732" sldId="433"/>
            <ac:spMk id="4" creationId="{51C5D8CB-F66A-54FA-A027-9BDFF52BFE9A}"/>
          </ac:spMkLst>
        </pc:spChg>
        <pc:spChg chg="add mod">
          <ac:chgData name="Ischanka, Eugen" userId="e4e12248-2210-4459-89e3-acb2dd10c338" providerId="ADAL" clId="{671D133E-469A-4763-9661-3DED79A05069}" dt="2024-01-09T08:58:40.402" v="3154" actId="478"/>
          <ac:spMkLst>
            <pc:docMk/>
            <pc:sldMk cId="1084793732" sldId="433"/>
            <ac:spMk id="7" creationId="{B33772EC-EE89-BD63-F30B-3170E2E809B8}"/>
          </ac:spMkLst>
        </pc:spChg>
        <pc:spChg chg="del mod ord">
          <ac:chgData name="Ischanka, Eugen" userId="e4e12248-2210-4459-89e3-acb2dd10c338" providerId="ADAL" clId="{671D133E-469A-4763-9661-3DED79A05069}" dt="2024-01-09T08:57:42.740" v="3152" actId="700"/>
          <ac:spMkLst>
            <pc:docMk/>
            <pc:sldMk cId="1084793732" sldId="433"/>
            <ac:spMk id="13" creationId="{AB311278-905E-5E21-F5A9-705195E4A9CE}"/>
          </ac:spMkLst>
        </pc:spChg>
        <pc:graphicFrameChg chg="add del mod">
          <ac:chgData name="Ischanka, Eugen" userId="e4e12248-2210-4459-89e3-acb2dd10c338" providerId="ADAL" clId="{671D133E-469A-4763-9661-3DED79A05069}" dt="2024-01-09T08:58:40.402" v="3154" actId="478"/>
          <ac:graphicFrameMkLst>
            <pc:docMk/>
            <pc:sldMk cId="1084793732" sldId="433"/>
            <ac:graphicFrameMk id="5" creationId="{148C7DB5-C7EB-4434-3930-ACF94669F7F8}"/>
          </ac:graphicFrameMkLst>
        </pc:graphicFrameChg>
        <pc:graphicFrameChg chg="del">
          <ac:chgData name="Ischanka, Eugen" userId="e4e12248-2210-4459-89e3-acb2dd10c338" providerId="ADAL" clId="{671D133E-469A-4763-9661-3DED79A05069}" dt="2024-01-09T08:56:58.933" v="3078" actId="478"/>
          <ac:graphicFrameMkLst>
            <pc:docMk/>
            <pc:sldMk cId="1084793732" sldId="433"/>
            <ac:graphicFrameMk id="8" creationId="{3E6EF96B-3E05-494A-9086-F277ABC3428B}"/>
          </ac:graphicFrameMkLst>
        </pc:graphicFrameChg>
        <pc:graphicFrameChg chg="del">
          <ac:chgData name="Ischanka, Eugen" userId="e4e12248-2210-4459-89e3-acb2dd10c338" providerId="ADAL" clId="{671D133E-469A-4763-9661-3DED79A05069}" dt="2024-01-09T08:57:00.964" v="3079" actId="478"/>
          <ac:graphicFrameMkLst>
            <pc:docMk/>
            <pc:sldMk cId="1084793732" sldId="433"/>
            <ac:graphicFrameMk id="11" creationId="{0EECB15D-7F8F-FE5F-9C4D-72FC280F523A}"/>
          </ac:graphicFrameMkLst>
        </pc:graphicFrameChg>
      </pc:sldChg>
      <pc:sldChg chg="new del">
        <pc:chgData name="Ischanka, Eugen" userId="e4e12248-2210-4459-89e3-acb2dd10c338" providerId="ADAL" clId="{671D133E-469A-4763-9661-3DED79A05069}" dt="2024-01-09T08:56:52.975" v="3076" actId="47"/>
        <pc:sldMkLst>
          <pc:docMk/>
          <pc:sldMk cId="1384119274" sldId="433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4152712233" sldId="433"/>
        </pc:sldMkLst>
      </pc:sldChg>
      <pc:sldChg chg="modSp add mod">
        <pc:chgData name="Ischanka, Eugen" userId="e4e12248-2210-4459-89e3-acb2dd10c338" providerId="ADAL" clId="{671D133E-469A-4763-9661-3DED79A05069}" dt="2024-01-09T08:59:07.192" v="3167" actId="20577"/>
        <pc:sldMkLst>
          <pc:docMk/>
          <pc:sldMk cId="1570723146" sldId="434"/>
        </pc:sldMkLst>
        <pc:spChg chg="mod">
          <ac:chgData name="Ischanka, Eugen" userId="e4e12248-2210-4459-89e3-acb2dd10c338" providerId="ADAL" clId="{671D133E-469A-4763-9661-3DED79A05069}" dt="2024-01-09T08:59:07.192" v="3167" actId="20577"/>
          <ac:spMkLst>
            <pc:docMk/>
            <pc:sldMk cId="1570723146" sldId="434"/>
            <ac:spMk id="3" creationId="{5A8B5A2B-DD06-4AB9-F0DA-4C7EBC32EF17}"/>
          </ac:spMkLst>
        </pc:spChg>
      </pc:sldChg>
      <pc:sldChg chg="del">
        <pc:chgData name="Ischanka, Eugen" userId="e4e12248-2210-4459-89e3-acb2dd10c338" providerId="ADAL" clId="{671D133E-469A-4763-9661-3DED79A05069}" dt="2024-01-08T09:09:22.200" v="793" actId="47"/>
        <pc:sldMkLst>
          <pc:docMk/>
          <pc:sldMk cId="3544864014" sldId="434"/>
        </pc:sldMkLst>
      </pc:sldChg>
      <pc:sldChg chg="addSp delSp modSp add mod">
        <pc:chgData name="Ischanka, Eugen" userId="e4e12248-2210-4459-89e3-acb2dd10c338" providerId="ADAL" clId="{671D133E-469A-4763-9661-3DED79A05069}" dt="2024-01-09T09:09:54.702" v="3304" actId="20577"/>
        <pc:sldMkLst>
          <pc:docMk/>
          <pc:sldMk cId="1903217050" sldId="435"/>
        </pc:sldMkLst>
        <pc:spChg chg="add mod">
          <ac:chgData name="Ischanka, Eugen" userId="e4e12248-2210-4459-89e3-acb2dd10c338" providerId="ADAL" clId="{671D133E-469A-4763-9661-3DED79A05069}" dt="2024-01-09T09:09:54.702" v="3304" actId="20577"/>
          <ac:spMkLst>
            <pc:docMk/>
            <pc:sldMk cId="1903217050" sldId="435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8:59:44.627" v="3202" actId="20577"/>
          <ac:spMkLst>
            <pc:docMk/>
            <pc:sldMk cId="1903217050" sldId="435"/>
            <ac:spMk id="3" creationId="{5A8B5A2B-DD06-4AB9-F0DA-4C7EBC32EF17}"/>
          </ac:spMkLst>
        </pc:spChg>
        <pc:spChg chg="del">
          <ac:chgData name="Ischanka, Eugen" userId="e4e12248-2210-4459-89e3-acb2dd10c338" providerId="ADAL" clId="{671D133E-469A-4763-9661-3DED79A05069}" dt="2024-01-09T09:06:47.236" v="3276"/>
          <ac:spMkLst>
            <pc:docMk/>
            <pc:sldMk cId="1903217050" sldId="435"/>
            <ac:spMk id="7" creationId="{B33772EC-EE89-BD63-F30B-3170E2E809B8}"/>
          </ac:spMkLst>
        </pc:spChg>
        <pc:spChg chg="add mod ord">
          <ac:chgData name="Ischanka, Eugen" userId="e4e12248-2210-4459-89e3-acb2dd10c338" providerId="ADAL" clId="{671D133E-469A-4763-9661-3DED79A05069}" dt="2024-01-09T09:07:55.004" v="3288" actId="167"/>
          <ac:spMkLst>
            <pc:docMk/>
            <pc:sldMk cId="1903217050" sldId="435"/>
            <ac:spMk id="9" creationId="{5EEEEC36-634F-8BAC-912C-7B5BF56CF082}"/>
          </ac:spMkLst>
        </pc:spChg>
        <pc:graphicFrameChg chg="add mod modGraphic">
          <ac:chgData name="Ischanka, Eugen" userId="e4e12248-2210-4459-89e3-acb2dd10c338" providerId="ADAL" clId="{671D133E-469A-4763-9661-3DED79A05069}" dt="2024-01-09T09:07:47.438" v="3286" actId="20577"/>
          <ac:graphicFrameMkLst>
            <pc:docMk/>
            <pc:sldMk cId="1903217050" sldId="435"/>
            <ac:graphicFrameMk id="5" creationId="{DDF63823-4F59-441E-2C00-E9601B328305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9T09:07:52.558" v="3287" actId="478"/>
          <ac:graphicFrameMkLst>
            <pc:docMk/>
            <pc:sldMk cId="1903217050" sldId="435"/>
            <ac:graphicFrameMk id="6" creationId="{BA108B2A-1E8A-F66C-E45F-B40D8390F096}"/>
          </ac:graphicFrameMkLst>
        </pc:graphicFrame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222467040" sldId="435"/>
        </pc:sldMkLst>
      </pc:sldChg>
      <pc:sldChg chg="addSp delSp modSp add mod">
        <pc:chgData name="Ischanka, Eugen" userId="e4e12248-2210-4459-89e3-acb2dd10c338" providerId="ADAL" clId="{671D133E-469A-4763-9661-3DED79A05069}" dt="2024-01-09T09:11:02.261" v="3338" actId="1076"/>
        <pc:sldMkLst>
          <pc:docMk/>
          <pc:sldMk cId="2487441990" sldId="436"/>
        </pc:sldMkLst>
        <pc:spChg chg="mod">
          <ac:chgData name="Ischanka, Eugen" userId="e4e12248-2210-4459-89e3-acb2dd10c338" providerId="ADAL" clId="{671D133E-469A-4763-9661-3DED79A05069}" dt="2024-01-09T09:10:08.815" v="3314" actId="20577"/>
          <ac:spMkLst>
            <pc:docMk/>
            <pc:sldMk cId="2487441990" sldId="436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9:09:45.603" v="3300" actId="20577"/>
          <ac:spMkLst>
            <pc:docMk/>
            <pc:sldMk cId="2487441990" sldId="436"/>
            <ac:spMk id="3" creationId="{5A8B5A2B-DD06-4AB9-F0DA-4C7EBC32EF17}"/>
          </ac:spMkLst>
        </pc:spChg>
        <pc:graphicFrameChg chg="mod modGraphic">
          <ac:chgData name="Ischanka, Eugen" userId="e4e12248-2210-4459-89e3-acb2dd10c338" providerId="ADAL" clId="{671D133E-469A-4763-9661-3DED79A05069}" dt="2024-01-09T09:11:02.261" v="3338" actId="1076"/>
          <ac:graphicFrameMkLst>
            <pc:docMk/>
            <pc:sldMk cId="2487441990" sldId="436"/>
            <ac:graphicFrameMk id="5" creationId="{DDF63823-4F59-441E-2C00-E9601B328305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9T09:10:57.961" v="3337" actId="478"/>
          <ac:graphicFrameMkLst>
            <pc:docMk/>
            <pc:sldMk cId="2487441990" sldId="436"/>
            <ac:graphicFrameMk id="6" creationId="{7CA46B1B-A93F-807F-EBE9-6605D25AB04F}"/>
          </ac:graphicFrameMkLst>
        </pc:graphicFrameChg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2550416318" sldId="436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685150365" sldId="437"/>
        </pc:sldMkLst>
      </pc:sldChg>
      <pc:sldChg chg="modSp add mod">
        <pc:chgData name="Ischanka, Eugen" userId="e4e12248-2210-4459-89e3-acb2dd10c338" providerId="ADAL" clId="{671D133E-469A-4763-9661-3DED79A05069}" dt="2024-01-09T09:15:58.398" v="3470" actId="20577"/>
        <pc:sldMkLst>
          <pc:docMk/>
          <pc:sldMk cId="1601485209" sldId="437"/>
        </pc:sldMkLst>
        <pc:spChg chg="mod">
          <ac:chgData name="Ischanka, Eugen" userId="e4e12248-2210-4459-89e3-acb2dd10c338" providerId="ADAL" clId="{671D133E-469A-4763-9661-3DED79A05069}" dt="2024-01-09T09:15:58.398" v="3470" actId="20577"/>
          <ac:spMkLst>
            <pc:docMk/>
            <pc:sldMk cId="1601485209" sldId="437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9:15:49.914" v="3459" actId="20577"/>
          <ac:spMkLst>
            <pc:docMk/>
            <pc:sldMk cId="1601485209" sldId="437"/>
            <ac:spMk id="3" creationId="{5A8B5A2B-DD06-4AB9-F0DA-4C7EBC32EF17}"/>
          </ac:spMkLst>
        </pc:spChg>
      </pc:sldChg>
      <pc:sldChg chg="new del">
        <pc:chgData name="Ischanka, Eugen" userId="e4e12248-2210-4459-89e3-acb2dd10c338" providerId="ADAL" clId="{671D133E-469A-4763-9661-3DED79A05069}" dt="2024-01-09T09:13:20.480" v="3380" actId="47"/>
        <pc:sldMkLst>
          <pc:docMk/>
          <pc:sldMk cId="493445740" sldId="438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2276803522" sldId="438"/>
        </pc:sldMkLst>
      </pc:sldChg>
      <pc:sldChg chg="addSp delSp modSp add mod">
        <pc:chgData name="Ischanka, Eugen" userId="e4e12248-2210-4459-89e3-acb2dd10c338" providerId="ADAL" clId="{671D133E-469A-4763-9661-3DED79A05069}" dt="2024-01-09T09:15:16.671" v="3426" actId="1076"/>
        <pc:sldMkLst>
          <pc:docMk/>
          <pc:sldMk cId="3877413060" sldId="438"/>
        </pc:sldMkLst>
        <pc:spChg chg="del">
          <ac:chgData name="Ischanka, Eugen" userId="e4e12248-2210-4459-89e3-acb2dd10c338" providerId="ADAL" clId="{671D133E-469A-4763-9661-3DED79A05069}" dt="2024-01-09T09:14:36.842" v="3421" actId="478"/>
          <ac:spMkLst>
            <pc:docMk/>
            <pc:sldMk cId="3877413060" sldId="438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9:14:25.324" v="3420" actId="20577"/>
          <ac:spMkLst>
            <pc:docMk/>
            <pc:sldMk cId="3877413060" sldId="438"/>
            <ac:spMk id="3" creationId="{5A8B5A2B-DD06-4AB9-F0DA-4C7EBC32EF17}"/>
          </ac:spMkLst>
        </pc:spChg>
        <pc:spChg chg="del">
          <ac:chgData name="Ischanka, Eugen" userId="e4e12248-2210-4459-89e3-acb2dd10c338" providerId="ADAL" clId="{671D133E-469A-4763-9661-3DED79A05069}" dt="2024-01-09T09:14:46.816" v="3422"/>
          <ac:spMkLst>
            <pc:docMk/>
            <pc:sldMk cId="3877413060" sldId="438"/>
            <ac:spMk id="9" creationId="{5EEEEC36-634F-8BAC-912C-7B5BF56CF082}"/>
          </ac:spMkLst>
        </pc:spChg>
        <pc:spChg chg="add mod">
          <ac:chgData name="Ischanka, Eugen" userId="e4e12248-2210-4459-89e3-acb2dd10c338" providerId="ADAL" clId="{671D133E-469A-4763-9661-3DED79A05069}" dt="2024-01-09T09:15:09.446" v="3425" actId="478"/>
          <ac:spMkLst>
            <pc:docMk/>
            <pc:sldMk cId="3877413060" sldId="438"/>
            <ac:spMk id="11" creationId="{B7D4D00D-7EBA-1F4B-50C9-8E00E07C2EF9}"/>
          </ac:spMkLst>
        </pc:spChg>
        <pc:graphicFrameChg chg="del">
          <ac:chgData name="Ischanka, Eugen" userId="e4e12248-2210-4459-89e3-acb2dd10c338" providerId="ADAL" clId="{671D133E-469A-4763-9661-3DED79A05069}" dt="2024-01-09T09:14:06.606" v="3408" actId="478"/>
          <ac:graphicFrameMkLst>
            <pc:docMk/>
            <pc:sldMk cId="3877413060" sldId="438"/>
            <ac:graphicFrameMk id="5" creationId="{DDF63823-4F59-441E-2C00-E9601B328305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9T09:15:16.671" v="3426" actId="1076"/>
          <ac:graphicFrameMkLst>
            <pc:docMk/>
            <pc:sldMk cId="3877413060" sldId="438"/>
            <ac:graphicFrameMk id="6" creationId="{AA6F0C35-BC0B-79F6-46DB-90774EF9BCBE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9T09:15:09.446" v="3425" actId="478"/>
          <ac:graphicFrameMkLst>
            <pc:docMk/>
            <pc:sldMk cId="3877413060" sldId="438"/>
            <ac:graphicFrameMk id="7" creationId="{5F53DD4E-1410-F792-6B0E-7CD9BFE7F30F}"/>
          </ac:graphicFrameMkLst>
        </pc:graphicFrameChg>
      </pc:sldChg>
      <pc:sldChg chg="modSp add mod">
        <pc:chgData name="Ischanka, Eugen" userId="e4e12248-2210-4459-89e3-acb2dd10c338" providerId="ADAL" clId="{671D133E-469A-4763-9661-3DED79A05069}" dt="2024-01-09T09:15:38.592" v="3454" actId="20577"/>
        <pc:sldMkLst>
          <pc:docMk/>
          <pc:sldMk cId="896755276" sldId="439"/>
        </pc:sldMkLst>
        <pc:spChg chg="mod">
          <ac:chgData name="Ischanka, Eugen" userId="e4e12248-2210-4459-89e3-acb2dd10c338" providerId="ADAL" clId="{671D133E-469A-4763-9661-3DED79A05069}" dt="2024-01-09T09:15:38.592" v="3454" actId="20577"/>
          <ac:spMkLst>
            <pc:docMk/>
            <pc:sldMk cId="896755276" sldId="439"/>
            <ac:spMk id="3" creationId="{5A8B5A2B-DD06-4AB9-F0DA-4C7EBC32EF17}"/>
          </ac:spMkLst>
        </pc:spChg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727571472" sldId="440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3771994516" sldId="441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4123959484" sldId="442"/>
        </pc:sldMkLst>
      </pc:sldChg>
      <pc:sldMasterChg chg="addSp delSp modSp mod delSldLayout modSldLayout">
        <pc:chgData name="Ischanka, Eugen" userId="e4e12248-2210-4459-89e3-acb2dd10c338" providerId="ADAL" clId="{671D133E-469A-4763-9661-3DED79A05069}" dt="2024-01-08T09:26:51.843" v="1369"/>
        <pc:sldMasterMkLst>
          <pc:docMk/>
          <pc:sldMasterMk cId="3579731039" sldId="2147483648"/>
        </pc:sldMasterMkLst>
        <pc:spChg chg="add del">
          <ac:chgData name="Ischanka, Eugen" userId="e4e12248-2210-4459-89e3-acb2dd10c338" providerId="ADAL" clId="{671D133E-469A-4763-9661-3DED79A05069}" dt="2024-01-08T09:14:38.405" v="829" actId="22"/>
          <ac:spMkLst>
            <pc:docMk/>
            <pc:sldMasterMk cId="3579731039" sldId="2147483648"/>
            <ac:spMk id="17" creationId="{98DA70B2-EC5E-A1B4-5798-714FB0E0C202}"/>
          </ac:spMkLst>
        </pc:spChg>
        <pc:spChg chg="add mod">
          <ac:chgData name="Ischanka, Eugen" userId="e4e12248-2210-4459-89e3-acb2dd10c338" providerId="ADAL" clId="{671D133E-469A-4763-9661-3DED79A05069}" dt="2024-01-08T09:26:51.843" v="1369"/>
          <ac:spMkLst>
            <pc:docMk/>
            <pc:sldMasterMk cId="3579731039" sldId="2147483648"/>
            <ac:spMk id="18" creationId="{1E1288B4-821E-15BD-6097-274288314C91}"/>
          </ac:spMkLst>
        </pc:spChg>
        <pc:sldLayoutChg chg="addSp delSp modSp mod">
          <pc:chgData name="Ischanka, Eugen" userId="e4e12248-2210-4459-89e3-acb2dd10c338" providerId="ADAL" clId="{671D133E-469A-4763-9661-3DED79A05069}" dt="2024-01-08T09:24:43.766" v="1344" actId="20577"/>
          <pc:sldLayoutMkLst>
            <pc:docMk/>
            <pc:sldMasterMk cId="3579731039" sldId="2147483648"/>
            <pc:sldLayoutMk cId="3667586793" sldId="2147483656"/>
          </pc:sldLayoutMkLst>
          <pc:spChg chg="add del mod">
            <ac:chgData name="Ischanka, Eugen" userId="e4e12248-2210-4459-89e3-acb2dd10c338" providerId="ADAL" clId="{671D133E-469A-4763-9661-3DED79A05069}" dt="2024-01-08T09:19:53.201" v="959"/>
            <ac:spMkLst>
              <pc:docMk/>
              <pc:sldMasterMk cId="3579731039" sldId="2147483648"/>
              <pc:sldLayoutMk cId="3667586793" sldId="2147483656"/>
              <ac:spMk id="7" creationId="{C26BEB7D-01E4-0977-0EE2-8F654B3EE7FB}"/>
            </ac:spMkLst>
          </pc:spChg>
          <pc:spChg chg="add del mod">
            <ac:chgData name="Ischanka, Eugen" userId="e4e12248-2210-4459-89e3-acb2dd10c338" providerId="ADAL" clId="{671D133E-469A-4763-9661-3DED79A05069}" dt="2024-01-08T09:24:43.766" v="1344" actId="20577"/>
            <ac:spMkLst>
              <pc:docMk/>
              <pc:sldMasterMk cId="3579731039" sldId="2147483648"/>
              <pc:sldLayoutMk cId="3667586793" sldId="2147483656"/>
              <ac:spMk id="8" creationId="{2331AB09-0786-424A-BA9D-4E043F529717}"/>
            </ac:spMkLst>
          </pc:spChg>
        </pc:sldLayoutChg>
        <pc:sldLayoutChg chg="modSp mod">
          <pc:chgData name="Ischanka, Eugen" userId="e4e12248-2210-4459-89e3-acb2dd10c338" providerId="ADAL" clId="{671D133E-469A-4763-9661-3DED79A05069}" dt="2024-01-08T09:14:32.172" v="827"/>
          <pc:sldLayoutMkLst>
            <pc:docMk/>
            <pc:sldMasterMk cId="3579731039" sldId="2147483648"/>
            <pc:sldLayoutMk cId="1803474345" sldId="2147483658"/>
          </pc:sldLayoutMkLst>
          <pc:spChg chg="mod">
            <ac:chgData name="Ischanka, Eugen" userId="e4e12248-2210-4459-89e3-acb2dd10c338" providerId="ADAL" clId="{671D133E-469A-4763-9661-3DED79A05069}" dt="2024-01-08T09:14:32.172" v="827"/>
            <ac:spMkLst>
              <pc:docMk/>
              <pc:sldMasterMk cId="3579731039" sldId="2147483648"/>
              <pc:sldLayoutMk cId="1803474345" sldId="2147483658"/>
              <ac:spMk id="8" creationId="{2331AB09-0786-424A-BA9D-4E043F529717}"/>
            </ac:spMkLst>
          </pc:spChg>
        </pc:sldLayoutChg>
        <pc:sldLayoutChg chg="del">
          <pc:chgData name="Ischanka, Eugen" userId="e4e12248-2210-4459-89e3-acb2dd10c338" providerId="ADAL" clId="{671D133E-469A-4763-9661-3DED79A05069}" dt="2024-01-08T09:09:49.071" v="795" actId="47"/>
          <pc:sldLayoutMkLst>
            <pc:docMk/>
            <pc:sldMasterMk cId="3579731039" sldId="2147483648"/>
            <pc:sldLayoutMk cId="3499460889" sldId="2147483662"/>
          </pc:sldLayoutMkLst>
        </pc:sldLayoutChg>
      </pc:sldMasterChg>
    </pc:docChg>
  </pc:docChgLst>
  <pc:docChgLst>
    <pc:chgData name="Ischanka, Eugen" userId="e4e12248-2210-4459-89e3-acb2dd10c338" providerId="ADAL" clId="{E9D49742-0B57-406B-89A5-967862ED1968}"/>
    <pc:docChg chg="undo custSel addSld delSld modSld sldOrd addSection modSection">
      <pc:chgData name="Ischanka, Eugen" userId="e4e12248-2210-4459-89e3-acb2dd10c338" providerId="ADAL" clId="{E9D49742-0B57-406B-89A5-967862ED1968}" dt="2023-12-19T13:00:47.007" v="1732" actId="108"/>
      <pc:docMkLst>
        <pc:docMk/>
      </pc:docMkLst>
      <pc:sldChg chg="delSp mod">
        <pc:chgData name="Ischanka, Eugen" userId="e4e12248-2210-4459-89e3-acb2dd10c338" providerId="ADAL" clId="{E9D49742-0B57-406B-89A5-967862ED1968}" dt="2023-12-18T12:58:40.255" v="208" actId="478"/>
        <pc:sldMkLst>
          <pc:docMk/>
          <pc:sldMk cId="2899788142" sldId="343"/>
        </pc:sldMkLst>
        <pc:spChg chg="del">
          <ac:chgData name="Ischanka, Eugen" userId="e4e12248-2210-4459-89e3-acb2dd10c338" providerId="ADAL" clId="{E9D49742-0B57-406B-89A5-967862ED1968}" dt="2023-12-18T12:58:40.255" v="208" actId="478"/>
          <ac:spMkLst>
            <pc:docMk/>
            <pc:sldMk cId="2899788142" sldId="343"/>
            <ac:spMk id="5" creationId="{0D0C8389-62D1-E118-E6B8-E662D8D12D67}"/>
          </ac:spMkLst>
        </pc:spChg>
      </pc:sldChg>
      <pc:sldChg chg="delSp mod">
        <pc:chgData name="Ischanka, Eugen" userId="e4e12248-2210-4459-89e3-acb2dd10c338" providerId="ADAL" clId="{E9D49742-0B57-406B-89A5-967862ED1968}" dt="2023-12-18T11:58:45.421" v="44" actId="478"/>
        <pc:sldMkLst>
          <pc:docMk/>
          <pc:sldMk cId="1800175079" sldId="374"/>
        </pc:sldMkLst>
        <pc:spChg chg="del">
          <ac:chgData name="Ischanka, Eugen" userId="e4e12248-2210-4459-89e3-acb2dd10c338" providerId="ADAL" clId="{E9D49742-0B57-406B-89A5-967862ED1968}" dt="2023-12-18T11:58:45.421" v="44" actId="478"/>
          <ac:spMkLst>
            <pc:docMk/>
            <pc:sldMk cId="1800175079" sldId="374"/>
            <ac:spMk id="6" creationId="{3196A012-4007-665C-4263-D31DA0E0B318}"/>
          </ac:spMkLst>
        </pc:spChg>
      </pc:sldChg>
      <pc:sldChg chg="modSp mod">
        <pc:chgData name="Ischanka, Eugen" userId="e4e12248-2210-4459-89e3-acb2dd10c338" providerId="ADAL" clId="{E9D49742-0B57-406B-89A5-967862ED1968}" dt="2023-12-18T12:25:48.524" v="46" actId="1076"/>
        <pc:sldMkLst>
          <pc:docMk/>
          <pc:sldMk cId="1916996503" sldId="382"/>
        </pc:sldMkLst>
        <pc:spChg chg="mod">
          <ac:chgData name="Ischanka, Eugen" userId="e4e12248-2210-4459-89e3-acb2dd10c338" providerId="ADAL" clId="{E9D49742-0B57-406B-89A5-967862ED1968}" dt="2023-12-18T12:25:48.524" v="46" actId="1076"/>
          <ac:spMkLst>
            <pc:docMk/>
            <pc:sldMk cId="1916996503" sldId="382"/>
            <ac:spMk id="8" creationId="{452D1C7D-6789-7243-94B3-C6CF6E9361FC}"/>
          </ac:spMkLst>
        </pc:spChg>
      </pc:sldChg>
      <pc:sldChg chg="add mod modShow">
        <pc:chgData name="Ischanka, Eugen" userId="e4e12248-2210-4459-89e3-acb2dd10c338" providerId="ADAL" clId="{E9D49742-0B57-406B-89A5-967862ED1968}" dt="2023-12-19T12:17:00.181" v="1133" actId="729"/>
        <pc:sldMkLst>
          <pc:docMk/>
          <pc:sldMk cId="948041330" sldId="412"/>
        </pc:sldMkLst>
      </pc:sldChg>
      <pc:sldChg chg="delSp del mod">
        <pc:chgData name="Ischanka, Eugen" userId="e4e12248-2210-4459-89e3-acb2dd10c338" providerId="ADAL" clId="{E9D49742-0B57-406B-89A5-967862ED1968}" dt="2023-12-19T12:16:42.729" v="1129" actId="2696"/>
        <pc:sldMkLst>
          <pc:docMk/>
          <pc:sldMk cId="1898835580" sldId="412"/>
        </pc:sldMkLst>
        <pc:spChg chg="del">
          <ac:chgData name="Ischanka, Eugen" userId="e4e12248-2210-4459-89e3-acb2dd10c338" providerId="ADAL" clId="{E9D49742-0B57-406B-89A5-967862ED1968}" dt="2023-12-18T12:47:51.628" v="178" actId="478"/>
          <ac:spMkLst>
            <pc:docMk/>
            <pc:sldMk cId="1898835580" sldId="412"/>
            <ac:spMk id="3" creationId="{573F90B1-F592-0726-E00D-A299D73AADA9}"/>
          </ac:spMkLst>
        </pc:spChg>
        <pc:spChg chg="del">
          <ac:chgData name="Ischanka, Eugen" userId="e4e12248-2210-4459-89e3-acb2dd10c338" providerId="ADAL" clId="{E9D49742-0B57-406B-89A5-967862ED1968}" dt="2023-12-18T12:47:48.706" v="177" actId="478"/>
          <ac:spMkLst>
            <pc:docMk/>
            <pc:sldMk cId="1898835580" sldId="412"/>
            <ac:spMk id="6" creationId="{3636A54C-C095-DB22-9BE0-CEB2985621BE}"/>
          </ac:spMkLst>
        </pc:spChg>
      </pc:sldChg>
      <pc:sldChg chg="delSp mod">
        <pc:chgData name="Ischanka, Eugen" userId="e4e12248-2210-4459-89e3-acb2dd10c338" providerId="ADAL" clId="{E9D49742-0B57-406B-89A5-967862ED1968}" dt="2023-12-18T12:58:54.467" v="209" actId="478"/>
        <pc:sldMkLst>
          <pc:docMk/>
          <pc:sldMk cId="1738591175" sldId="413"/>
        </pc:sldMkLst>
        <pc:spChg chg="del">
          <ac:chgData name="Ischanka, Eugen" userId="e4e12248-2210-4459-89e3-acb2dd10c338" providerId="ADAL" clId="{E9D49742-0B57-406B-89A5-967862ED1968}" dt="2023-12-18T12:58:54.467" v="209" actId="478"/>
          <ac:spMkLst>
            <pc:docMk/>
            <pc:sldMk cId="1738591175" sldId="413"/>
            <ac:spMk id="6" creationId="{DDBE7A07-F5E9-3FE0-BBF1-015DAD5868F6}"/>
          </ac:spMkLst>
        </pc:spChg>
      </pc:sldChg>
      <pc:sldChg chg="addSp modSp mod">
        <pc:chgData name="Ischanka, Eugen" userId="e4e12248-2210-4459-89e3-acb2dd10c338" providerId="ADAL" clId="{E9D49742-0B57-406B-89A5-967862ED1968}" dt="2023-12-18T14:32:17.546" v="495" actId="207"/>
        <pc:sldMkLst>
          <pc:docMk/>
          <pc:sldMk cId="3143875857" sldId="422"/>
        </pc:sldMkLst>
        <pc:spChg chg="mod">
          <ac:chgData name="Ischanka, Eugen" userId="e4e12248-2210-4459-89e3-acb2dd10c338" providerId="ADAL" clId="{E9D49742-0B57-406B-89A5-967862ED1968}" dt="2023-12-18T14:28:00.486" v="447" actId="13926"/>
          <ac:spMkLst>
            <pc:docMk/>
            <pc:sldMk cId="3143875857" sldId="422"/>
            <ac:spMk id="2" creationId="{94B21A1C-77D2-3290-28F2-91C94B21A7B8}"/>
          </ac:spMkLst>
        </pc:spChg>
        <pc:spChg chg="add mod">
          <ac:chgData name="Ischanka, Eugen" userId="e4e12248-2210-4459-89e3-acb2dd10c338" providerId="ADAL" clId="{E9D49742-0B57-406B-89A5-967862ED1968}" dt="2023-12-18T14:32:17.546" v="495" actId="207"/>
          <ac:spMkLst>
            <pc:docMk/>
            <pc:sldMk cId="3143875857" sldId="422"/>
            <ac:spMk id="6" creationId="{515691F2-01B8-FA8A-8A1B-091CF22BAEA3}"/>
          </ac:spMkLst>
        </pc:spChg>
        <pc:graphicFrameChg chg="modGraphic">
          <ac:chgData name="Ischanka, Eugen" userId="e4e12248-2210-4459-89e3-acb2dd10c338" providerId="ADAL" clId="{E9D49742-0B57-406B-89A5-967862ED1968}" dt="2023-12-18T14:28:24.511" v="466" actId="20577"/>
          <ac:graphicFrameMkLst>
            <pc:docMk/>
            <pc:sldMk cId="3143875857" sldId="422"/>
            <ac:graphicFrameMk id="5" creationId="{5CEA2052-C936-60DA-45A9-070815F528AC}"/>
          </ac:graphicFrameMkLst>
        </pc:graphicFrameChg>
      </pc:sldChg>
      <pc:sldChg chg="ord">
        <pc:chgData name="Ischanka, Eugen" userId="e4e12248-2210-4459-89e3-acb2dd10c338" providerId="ADAL" clId="{E9D49742-0B57-406B-89A5-967862ED1968}" dt="2023-12-18T14:04:58.013" v="443"/>
        <pc:sldMkLst>
          <pc:docMk/>
          <pc:sldMk cId="1275413563" sldId="423"/>
        </pc:sldMkLst>
      </pc:sldChg>
      <pc:sldChg chg="addSp modSp mod">
        <pc:chgData name="Ischanka, Eugen" userId="e4e12248-2210-4459-89e3-acb2dd10c338" providerId="ADAL" clId="{E9D49742-0B57-406B-89A5-967862ED1968}" dt="2023-12-19T07:18:35.172" v="994" actId="1957"/>
        <pc:sldMkLst>
          <pc:docMk/>
          <pc:sldMk cId="2647160943" sldId="426"/>
        </pc:sldMkLst>
        <pc:spChg chg="add mod">
          <ac:chgData name="Ischanka, Eugen" userId="e4e12248-2210-4459-89e3-acb2dd10c338" providerId="ADAL" clId="{E9D49742-0B57-406B-89A5-967862ED1968}" dt="2023-12-18T14:04:39.841" v="441" actId="14100"/>
          <ac:spMkLst>
            <pc:docMk/>
            <pc:sldMk cId="2647160943" sldId="426"/>
            <ac:spMk id="2" creationId="{52D6A66A-E70C-EF89-754D-D799640F53D3}"/>
          </ac:spMkLst>
        </pc:spChg>
        <pc:graphicFrameChg chg="mod">
          <ac:chgData name="Ischanka, Eugen" userId="e4e12248-2210-4459-89e3-acb2dd10c338" providerId="ADAL" clId="{E9D49742-0B57-406B-89A5-967862ED1968}" dt="2023-12-19T07:18:35.172" v="994" actId="1957"/>
          <ac:graphicFrameMkLst>
            <pc:docMk/>
            <pc:sldMk cId="2647160943" sldId="426"/>
            <ac:graphicFrameMk id="10" creationId="{3A633E47-97A3-4816-97D6-F1B50E2F7236}"/>
          </ac:graphicFrameMkLst>
        </pc:graphicFrameChg>
      </pc:sldChg>
      <pc:sldChg chg="addSp delSp modSp del mod ord">
        <pc:chgData name="Ischanka, Eugen" userId="e4e12248-2210-4459-89e3-acb2dd10c338" providerId="ADAL" clId="{E9D49742-0B57-406B-89A5-967862ED1968}" dt="2023-12-19T12:16:42.729" v="1129" actId="2696"/>
        <pc:sldMkLst>
          <pc:docMk/>
          <pc:sldMk cId="277543081" sldId="428"/>
        </pc:sldMkLst>
        <pc:spChg chg="del">
          <ac:chgData name="Ischanka, Eugen" userId="e4e12248-2210-4459-89e3-acb2dd10c338" providerId="ADAL" clId="{E9D49742-0B57-406B-89A5-967862ED1968}" dt="2023-12-18T12:42:11.674" v="50"/>
          <ac:spMkLst>
            <pc:docMk/>
            <pc:sldMk cId="277543081" sldId="428"/>
            <ac:spMk id="2" creationId="{6F09C717-A4E4-C767-7C3F-343F3AA46959}"/>
          </ac:spMkLst>
        </pc:spChg>
        <pc:spChg chg="mod">
          <ac:chgData name="Ischanka, Eugen" userId="e4e12248-2210-4459-89e3-acb2dd10c338" providerId="ADAL" clId="{E9D49742-0B57-406B-89A5-967862ED1968}" dt="2023-12-18T13:55:59.588" v="281" actId="14100"/>
          <ac:spMkLst>
            <pc:docMk/>
            <pc:sldMk cId="277543081" sldId="428"/>
            <ac:spMk id="5" creationId="{E6148FC1-5F09-9F73-FD77-13D41E07ED11}"/>
          </ac:spMkLst>
        </pc:spChg>
        <pc:spChg chg="add mod">
          <ac:chgData name="Ischanka, Eugen" userId="e4e12248-2210-4459-89e3-acb2dd10c338" providerId="ADAL" clId="{E9D49742-0B57-406B-89A5-967862ED1968}" dt="2023-12-18T12:47:24.604" v="176" actId="20577"/>
          <ac:spMkLst>
            <pc:docMk/>
            <pc:sldMk cId="277543081" sldId="428"/>
            <ac:spMk id="7" creationId="{A2FF13B7-C458-F08C-B3E9-CF91862EC9C7}"/>
          </ac:spMkLst>
        </pc:spChg>
        <pc:graphicFrameChg chg="add mod">
          <ac:chgData name="Ischanka, Eugen" userId="e4e12248-2210-4459-89e3-acb2dd10c338" providerId="ADAL" clId="{E9D49742-0B57-406B-89A5-967862ED1968}" dt="2023-12-18T14:43:36.275" v="511" actId="404"/>
          <ac:graphicFrameMkLst>
            <pc:docMk/>
            <pc:sldMk cId="277543081" sldId="428"/>
            <ac:graphicFrameMk id="6" creationId="{16419273-D99A-C3E7-484C-2B4EF3C490C5}"/>
          </ac:graphicFrameMkLst>
        </pc:graphicFrameChg>
        <pc:graphicFrameChg chg="add mod modGraphic">
          <ac:chgData name="Ischanka, Eugen" userId="e4e12248-2210-4459-89e3-acb2dd10c338" providerId="ADAL" clId="{E9D49742-0B57-406B-89A5-967862ED1968}" dt="2023-12-18T12:52:56.043" v="204" actId="1076"/>
          <ac:graphicFrameMkLst>
            <pc:docMk/>
            <pc:sldMk cId="277543081" sldId="428"/>
            <ac:graphicFrameMk id="8" creationId="{68C632C4-9503-0B6E-FCF9-E153FE1DAE90}"/>
          </ac:graphicFrameMkLst>
        </pc:graphicFrameChg>
      </pc:sldChg>
      <pc:sldChg chg="add mod modShow">
        <pc:chgData name="Ischanka, Eugen" userId="e4e12248-2210-4459-89e3-acb2dd10c338" providerId="ADAL" clId="{E9D49742-0B57-406B-89A5-967862ED1968}" dt="2023-12-19T12:17:00.181" v="1133" actId="729"/>
        <pc:sldMkLst>
          <pc:docMk/>
          <pc:sldMk cId="1324640595" sldId="428"/>
        </pc:sldMkLst>
      </pc:sldChg>
      <pc:sldChg chg="del">
        <pc:chgData name="Ischanka, Eugen" userId="e4e12248-2210-4459-89e3-acb2dd10c338" providerId="ADAL" clId="{E9D49742-0B57-406B-89A5-967862ED1968}" dt="2023-12-18T11:58:03.896" v="41" actId="47"/>
        <pc:sldMkLst>
          <pc:docMk/>
          <pc:sldMk cId="3432875904" sldId="429"/>
        </pc:sldMkLst>
      </pc:sldChg>
      <pc:sldChg chg="del">
        <pc:chgData name="Ischanka, Eugen" userId="e4e12248-2210-4459-89e3-acb2dd10c338" providerId="ADAL" clId="{E9D49742-0B57-406B-89A5-967862ED1968}" dt="2023-12-18T11:58:09.091" v="43" actId="47"/>
        <pc:sldMkLst>
          <pc:docMk/>
          <pc:sldMk cId="952644228" sldId="430"/>
        </pc:sldMkLst>
      </pc:sldChg>
      <pc:sldChg chg="del">
        <pc:chgData name="Ischanka, Eugen" userId="e4e12248-2210-4459-89e3-acb2dd10c338" providerId="ADAL" clId="{E9D49742-0B57-406B-89A5-967862ED1968}" dt="2023-12-18T12:48:09.119" v="181" actId="47"/>
        <pc:sldMkLst>
          <pc:docMk/>
          <pc:sldMk cId="948035709" sldId="431"/>
        </pc:sldMkLst>
      </pc:sldChg>
      <pc:sldChg chg="del">
        <pc:chgData name="Ischanka, Eugen" userId="e4e12248-2210-4459-89e3-acb2dd10c338" providerId="ADAL" clId="{E9D49742-0B57-406B-89A5-967862ED1968}" dt="2023-12-18T11:58:06.539" v="42" actId="47"/>
        <pc:sldMkLst>
          <pc:docMk/>
          <pc:sldMk cId="3400566277" sldId="432"/>
        </pc:sldMkLst>
      </pc:sldChg>
      <pc:sldChg chg="ord">
        <pc:chgData name="Ischanka, Eugen" userId="e4e12248-2210-4459-89e3-acb2dd10c338" providerId="ADAL" clId="{E9D49742-0B57-406B-89A5-967862ED1968}" dt="2023-12-18T14:04:58.013" v="443"/>
        <pc:sldMkLst>
          <pc:docMk/>
          <pc:sldMk cId="4152712233" sldId="433"/>
        </pc:sldMkLst>
      </pc:sldChg>
      <pc:sldChg chg="addSp delSp modSp add mod">
        <pc:chgData name="Ischanka, Eugen" userId="e4e12248-2210-4459-89e3-acb2dd10c338" providerId="ADAL" clId="{E9D49742-0B57-406B-89A5-967862ED1968}" dt="2023-12-18T11:57:35.462" v="40"/>
        <pc:sldMkLst>
          <pc:docMk/>
          <pc:sldMk cId="3544864014" sldId="434"/>
        </pc:sldMkLst>
        <pc:spChg chg="del">
          <ac:chgData name="Ischanka, Eugen" userId="e4e12248-2210-4459-89e3-acb2dd10c338" providerId="ADAL" clId="{E9D49742-0B57-406B-89A5-967862ED1968}" dt="2023-12-18T11:55:26.343" v="4" actId="478"/>
          <ac:spMkLst>
            <pc:docMk/>
            <pc:sldMk cId="3544864014" sldId="434"/>
            <ac:spMk id="2" creationId="{CCAE2C6E-01E0-9678-7EA8-3C10D643C007}"/>
          </ac:spMkLst>
        </pc:spChg>
        <pc:spChg chg="del">
          <ac:chgData name="Ischanka, Eugen" userId="e4e12248-2210-4459-89e3-acb2dd10c338" providerId="ADAL" clId="{E9D49742-0B57-406B-89A5-967862ED1968}" dt="2023-12-18T11:55:19.943" v="2" actId="478"/>
          <ac:spMkLst>
            <pc:docMk/>
            <pc:sldMk cId="3544864014" sldId="434"/>
            <ac:spMk id="6" creationId="{3196A012-4007-665C-4263-D31DA0E0B318}"/>
          </ac:spMkLst>
        </pc:spChg>
        <pc:spChg chg="add del mod ord">
          <ac:chgData name="Ischanka, Eugen" userId="e4e12248-2210-4459-89e3-acb2dd10c338" providerId="ADAL" clId="{E9D49742-0B57-406B-89A5-967862ED1968}" dt="2023-12-18T11:55:48.354" v="6"/>
          <ac:spMkLst>
            <pc:docMk/>
            <pc:sldMk cId="3544864014" sldId="434"/>
            <ac:spMk id="8" creationId="{8422988D-570F-F72B-C131-F9C721D0007A}"/>
          </ac:spMkLst>
        </pc:spChg>
        <pc:graphicFrameChg chg="del">
          <ac:chgData name="Ischanka, Eugen" userId="e4e12248-2210-4459-89e3-acb2dd10c338" providerId="ADAL" clId="{E9D49742-0B57-406B-89A5-967862ED1968}" dt="2023-12-18T11:55:17.885" v="1" actId="478"/>
          <ac:graphicFrameMkLst>
            <pc:docMk/>
            <pc:sldMk cId="3544864014" sldId="434"/>
            <ac:graphicFrameMk id="10" creationId="{E6E45547-4611-1E16-35AA-4D3A1AA376E2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8T11:57:35.462" v="40"/>
          <ac:graphicFrameMkLst>
            <pc:docMk/>
            <pc:sldMk cId="3544864014" sldId="434"/>
            <ac:graphicFrameMk id="11" creationId="{7675F8FA-B7F0-7EAF-EFA3-87F1643A161D}"/>
          </ac:graphicFrameMkLst>
        </pc:graphicFrameChg>
      </pc:sldChg>
      <pc:sldChg chg="addSp delSp modSp new mod modClrScheme chgLayout">
        <pc:chgData name="Ischanka, Eugen" userId="e4e12248-2210-4459-89e3-acb2dd10c338" providerId="ADAL" clId="{E9D49742-0B57-406B-89A5-967862ED1968}" dt="2023-12-19T12:15:57.625" v="1128" actId="1076"/>
        <pc:sldMkLst>
          <pc:docMk/>
          <pc:sldMk cId="2222467040" sldId="435"/>
        </pc:sldMkLst>
        <pc:spChg chg="del">
          <ac:chgData name="Ischanka, Eugen" userId="e4e12248-2210-4459-89e3-acb2dd10c338" providerId="ADAL" clId="{E9D49742-0B57-406B-89A5-967862ED1968}" dt="2023-12-19T06:59:21.622" v="514"/>
          <ac:spMkLst>
            <pc:docMk/>
            <pc:sldMk cId="2222467040" sldId="435"/>
            <ac:spMk id="2" creationId="{03CB544B-64CE-E0F8-12BC-644464C4A075}"/>
          </ac:spMkLst>
        </pc:spChg>
        <pc:spChg chg="add mod">
          <ac:chgData name="Ischanka, Eugen" userId="e4e12248-2210-4459-89e3-acb2dd10c338" providerId="ADAL" clId="{E9D49742-0B57-406B-89A5-967862ED1968}" dt="2023-12-19T12:15:57.625" v="1128" actId="1076"/>
          <ac:spMkLst>
            <pc:docMk/>
            <pc:sldMk cId="2222467040" sldId="435"/>
            <ac:spMk id="2" creationId="{3252B6CA-B4C9-8350-A95A-81A06EA21956}"/>
          </ac:spMkLst>
        </pc:spChg>
        <pc:spChg chg="del mod ord">
          <ac:chgData name="Ischanka, Eugen" userId="e4e12248-2210-4459-89e3-acb2dd10c338" providerId="ADAL" clId="{E9D49742-0B57-406B-89A5-967862ED1968}" dt="2023-12-19T06:59:26.789" v="515" actId="700"/>
          <ac:spMkLst>
            <pc:docMk/>
            <pc:sldMk cId="2222467040" sldId="435"/>
            <ac:spMk id="3" creationId="{F65DE926-D826-E29A-BE48-ECCF454D76D8}"/>
          </ac:spMkLst>
        </pc:spChg>
        <pc:spChg chg="del mod ord">
          <ac:chgData name="Ischanka, Eugen" userId="e4e12248-2210-4459-89e3-acb2dd10c338" providerId="ADAL" clId="{E9D49742-0B57-406B-89A5-967862ED1968}" dt="2023-12-19T06:59:26.789" v="515" actId="700"/>
          <ac:spMkLst>
            <pc:docMk/>
            <pc:sldMk cId="2222467040" sldId="435"/>
            <ac:spMk id="4" creationId="{6AC71009-F8FA-5624-55DA-83B3F5E52C20}"/>
          </ac:spMkLst>
        </pc:spChg>
        <pc:spChg chg="add del mod ord">
          <ac:chgData name="Ischanka, Eugen" userId="e4e12248-2210-4459-89e3-acb2dd10c338" providerId="ADAL" clId="{E9D49742-0B57-406B-89A5-967862ED1968}" dt="2023-12-19T07:06:22.457" v="630"/>
          <ac:spMkLst>
            <pc:docMk/>
            <pc:sldMk cId="2222467040" sldId="435"/>
            <ac:spMk id="6" creationId="{C955DC02-B080-2662-103F-0B83AABD5EA5}"/>
          </ac:spMkLst>
        </pc:spChg>
        <pc:spChg chg="add del mod ord">
          <ac:chgData name="Ischanka, Eugen" userId="e4e12248-2210-4459-89e3-acb2dd10c338" providerId="ADAL" clId="{E9D49742-0B57-406B-89A5-967862ED1968}" dt="2023-12-19T07:01:38.689" v="564"/>
          <ac:spMkLst>
            <pc:docMk/>
            <pc:sldMk cId="2222467040" sldId="435"/>
            <ac:spMk id="7" creationId="{50A8BF64-9ED1-71EB-5B7A-D108D945E6BC}"/>
          </ac:spMkLst>
        </pc:spChg>
        <pc:spChg chg="add del mod ord">
          <ac:chgData name="Ischanka, Eugen" userId="e4e12248-2210-4459-89e3-acb2dd10c338" providerId="ADAL" clId="{E9D49742-0B57-406B-89A5-967862ED1968}" dt="2023-12-19T07:06:27" v="631"/>
          <ac:spMkLst>
            <pc:docMk/>
            <pc:sldMk cId="2222467040" sldId="435"/>
            <ac:spMk id="8" creationId="{ACD4BFFB-D868-703F-0365-03B8B21AEA73}"/>
          </ac:spMkLst>
        </pc:spChg>
        <pc:spChg chg="add del mod">
          <ac:chgData name="Ischanka, Eugen" userId="e4e12248-2210-4459-89e3-acb2dd10c338" providerId="ADAL" clId="{E9D49742-0B57-406B-89A5-967862ED1968}" dt="2023-12-19T07:02:22.886" v="568"/>
          <ac:spMkLst>
            <pc:docMk/>
            <pc:sldMk cId="2222467040" sldId="435"/>
            <ac:spMk id="11" creationId="{0C2BF996-4A47-9702-9106-23B80D69B1BD}"/>
          </ac:spMkLst>
        </pc:spChg>
        <pc:spChg chg="add mod">
          <ac:chgData name="Ischanka, Eugen" userId="e4e12248-2210-4459-89e3-acb2dd10c338" providerId="ADAL" clId="{E9D49742-0B57-406B-89A5-967862ED1968}" dt="2023-12-19T07:06:22.457" v="630"/>
          <ac:spMkLst>
            <pc:docMk/>
            <pc:sldMk cId="2222467040" sldId="435"/>
            <ac:spMk id="14" creationId="{B116A628-6D4D-13A6-1DD2-A23687E530B3}"/>
          </ac:spMkLst>
        </pc:spChg>
        <pc:spChg chg="add mod">
          <ac:chgData name="Ischanka, Eugen" userId="e4e12248-2210-4459-89e3-acb2dd10c338" providerId="ADAL" clId="{E9D49742-0B57-406B-89A5-967862ED1968}" dt="2023-12-19T07:06:27" v="631"/>
          <ac:spMkLst>
            <pc:docMk/>
            <pc:sldMk cId="2222467040" sldId="435"/>
            <ac:spMk id="15" creationId="{70571E64-BF6B-6293-61D0-AD208FBC9CFF}"/>
          </ac:spMkLst>
        </pc:spChg>
        <pc:spChg chg="add del mod">
          <ac:chgData name="Ischanka, Eugen" userId="e4e12248-2210-4459-89e3-acb2dd10c338" providerId="ADAL" clId="{E9D49742-0B57-406B-89A5-967862ED1968}" dt="2023-12-19T07:15:22.946" v="988" actId="478"/>
          <ac:spMkLst>
            <pc:docMk/>
            <pc:sldMk cId="2222467040" sldId="435"/>
            <ac:spMk id="16" creationId="{CB230712-63F2-63E9-BE01-B55B6FD8EC00}"/>
          </ac:spMkLst>
        </pc:spChg>
        <pc:spChg chg="add del mod">
          <ac:chgData name="Ischanka, Eugen" userId="e4e12248-2210-4459-89e3-acb2dd10c338" providerId="ADAL" clId="{E9D49742-0B57-406B-89A5-967862ED1968}" dt="2023-12-19T07:13:40.421" v="969" actId="478"/>
          <ac:spMkLst>
            <pc:docMk/>
            <pc:sldMk cId="2222467040" sldId="435"/>
            <ac:spMk id="18" creationId="{B0B2AD89-17DB-ED86-C627-ECAE5EB643ED}"/>
          </ac:spMkLst>
        </pc:spChg>
        <pc:spChg chg="add mod">
          <ac:chgData name="Ischanka, Eugen" userId="e4e12248-2210-4459-89e3-acb2dd10c338" providerId="ADAL" clId="{E9D49742-0B57-406B-89A5-967862ED1968}" dt="2023-12-19T07:13:50.412" v="971" actId="1076"/>
          <ac:spMkLst>
            <pc:docMk/>
            <pc:sldMk cId="2222467040" sldId="435"/>
            <ac:spMk id="19" creationId="{2A8F8B38-FF76-396A-6C28-D1E47343D3F0}"/>
          </ac:spMkLst>
        </pc:spChg>
        <pc:spChg chg="add mod">
          <ac:chgData name="Ischanka, Eugen" userId="e4e12248-2210-4459-89e3-acb2dd10c338" providerId="ADAL" clId="{E9D49742-0B57-406B-89A5-967862ED1968}" dt="2023-12-19T07:13:57.990" v="973" actId="1076"/>
          <ac:spMkLst>
            <pc:docMk/>
            <pc:sldMk cId="2222467040" sldId="435"/>
            <ac:spMk id="20" creationId="{2C4819D1-0E26-8098-8C28-F68399EF8A30}"/>
          </ac:spMkLst>
        </pc:spChg>
        <pc:spChg chg="add mod">
          <ac:chgData name="Ischanka, Eugen" userId="e4e12248-2210-4459-89e3-acb2dd10c338" providerId="ADAL" clId="{E9D49742-0B57-406B-89A5-967862ED1968}" dt="2023-12-19T07:14:05.362" v="975" actId="1076"/>
          <ac:spMkLst>
            <pc:docMk/>
            <pc:sldMk cId="2222467040" sldId="435"/>
            <ac:spMk id="21" creationId="{825C3E30-DEF8-D300-E79B-43EEF0A511C2}"/>
          </ac:spMkLst>
        </pc:spChg>
        <pc:spChg chg="add mod">
          <ac:chgData name="Ischanka, Eugen" userId="e4e12248-2210-4459-89e3-acb2dd10c338" providerId="ADAL" clId="{E9D49742-0B57-406B-89A5-967862ED1968}" dt="2023-12-19T07:14:15.891" v="977" actId="1076"/>
          <ac:spMkLst>
            <pc:docMk/>
            <pc:sldMk cId="2222467040" sldId="435"/>
            <ac:spMk id="22" creationId="{2CFCD9FB-B0BC-6A3A-8CBA-94237CAA62DC}"/>
          </ac:spMkLst>
        </pc:spChg>
        <pc:spChg chg="add mod">
          <ac:chgData name="Ischanka, Eugen" userId="e4e12248-2210-4459-89e3-acb2dd10c338" providerId="ADAL" clId="{E9D49742-0B57-406B-89A5-967862ED1968}" dt="2023-12-19T07:14:22.655" v="979" actId="1076"/>
          <ac:spMkLst>
            <pc:docMk/>
            <pc:sldMk cId="2222467040" sldId="435"/>
            <ac:spMk id="23" creationId="{B7F79D0A-20C1-AB90-BEF9-2579EB8F82FB}"/>
          </ac:spMkLst>
        </pc:spChg>
        <pc:spChg chg="add mod">
          <ac:chgData name="Ischanka, Eugen" userId="e4e12248-2210-4459-89e3-acb2dd10c338" providerId="ADAL" clId="{E9D49742-0B57-406B-89A5-967862ED1968}" dt="2023-12-19T07:15:00.004" v="984" actId="1076"/>
          <ac:spMkLst>
            <pc:docMk/>
            <pc:sldMk cId="2222467040" sldId="435"/>
            <ac:spMk id="24" creationId="{EC334548-A58B-3D26-3569-E4DECD087192}"/>
          </ac:spMkLst>
        </pc:spChg>
        <pc:spChg chg="add mod">
          <ac:chgData name="Ischanka, Eugen" userId="e4e12248-2210-4459-89e3-acb2dd10c338" providerId="ADAL" clId="{E9D49742-0B57-406B-89A5-967862ED1968}" dt="2023-12-19T07:15:09.502" v="986" actId="1076"/>
          <ac:spMkLst>
            <pc:docMk/>
            <pc:sldMk cId="2222467040" sldId="435"/>
            <ac:spMk id="25" creationId="{294E9C04-CFD6-D4A4-0DA8-D2162C11D1F7}"/>
          </ac:spMkLst>
        </pc:spChg>
        <pc:graphicFrameChg chg="add mod ord">
          <ac:chgData name="Ischanka, Eugen" userId="e4e12248-2210-4459-89e3-acb2dd10c338" providerId="ADAL" clId="{E9D49742-0B57-406B-89A5-967862ED1968}" dt="2023-12-19T07:11:52.395" v="929" actId="404"/>
          <ac:graphicFrameMkLst>
            <pc:docMk/>
            <pc:sldMk cId="2222467040" sldId="435"/>
            <ac:graphicFrameMk id="5" creationId="{3A633E47-97A3-4816-97D6-F1B50E2F7236}"/>
          </ac:graphicFrameMkLst>
        </pc:graphicFrameChg>
        <pc:graphicFrameChg chg="add del mod">
          <ac:chgData name="Ischanka, Eugen" userId="e4e12248-2210-4459-89e3-acb2dd10c338" providerId="ADAL" clId="{E9D49742-0B57-406B-89A5-967862ED1968}" dt="2023-12-19T07:01:49.084" v="566" actId="478"/>
          <ac:graphicFrameMkLst>
            <pc:docMk/>
            <pc:sldMk cId="2222467040" sldId="435"/>
            <ac:graphicFrameMk id="9" creationId="{3A633E47-97A3-4816-97D6-F1B50E2F7236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9T07:11:46.994" v="927" actId="404"/>
          <ac:graphicFrameMkLst>
            <pc:docMk/>
            <pc:sldMk cId="2222467040" sldId="435"/>
            <ac:graphicFrameMk id="12" creationId="{3A633E47-97A3-4816-97D6-F1B50E2F7236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9T07:11:50.133" v="928" actId="404"/>
          <ac:graphicFrameMkLst>
            <pc:docMk/>
            <pc:sldMk cId="2222467040" sldId="435"/>
            <ac:graphicFrameMk id="13" creationId="{3A633E47-97A3-4816-97D6-F1B50E2F7236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9T07:12:36.869" v="961" actId="2085"/>
          <ac:graphicFrameMkLst>
            <pc:docMk/>
            <pc:sldMk cId="2222467040" sldId="435"/>
            <ac:graphicFrameMk id="17" creationId="{3A633E47-97A3-4816-97D6-F1B50E2F7236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2:49:45.150" v="1530" actId="1076"/>
        <pc:sldMkLst>
          <pc:docMk/>
          <pc:sldMk cId="2550416318" sldId="436"/>
        </pc:sldMkLst>
        <pc:spChg chg="del">
          <ac:chgData name="Ischanka, Eugen" userId="e4e12248-2210-4459-89e3-acb2dd10c338" providerId="ADAL" clId="{E9D49742-0B57-406B-89A5-967862ED1968}" dt="2023-12-19T12:26:57.208" v="1375" actId="478"/>
          <ac:spMkLst>
            <pc:docMk/>
            <pc:sldMk cId="2550416318" sldId="436"/>
            <ac:spMk id="5" creationId="{ABD9D6AE-7AEF-6EE9-1361-DD48DD9B6B5C}"/>
          </ac:spMkLst>
        </pc:spChg>
        <pc:spChg chg="mod">
          <ac:chgData name="Ischanka, Eugen" userId="e4e12248-2210-4459-89e3-acb2dd10c338" providerId="ADAL" clId="{E9D49742-0B57-406B-89A5-967862ED1968}" dt="2023-12-19T12:21:51.814" v="1288" actId="20577"/>
          <ac:spMkLst>
            <pc:docMk/>
            <pc:sldMk cId="2550416318" sldId="436"/>
            <ac:spMk id="8" creationId="{F80DA44B-BFFE-8ABF-8BBC-4DF06042150C}"/>
          </ac:spMkLst>
        </pc:spChg>
        <pc:graphicFrameChg chg="del mod">
          <ac:chgData name="Ischanka, Eugen" userId="e4e12248-2210-4459-89e3-acb2dd10c338" providerId="ADAL" clId="{E9D49742-0B57-406B-89A5-967862ED1968}" dt="2023-12-19T12:17:24.147" v="1137" actId="478"/>
          <ac:graphicFrameMkLst>
            <pc:docMk/>
            <pc:sldMk cId="2550416318" sldId="436"/>
            <ac:graphicFrameMk id="2" creationId="{1421038F-4531-7F55-5248-C50D75253764}"/>
          </ac:graphicFrameMkLst>
        </pc:graphicFrameChg>
        <pc:graphicFrameChg chg="add del mod">
          <ac:chgData name="Ischanka, Eugen" userId="e4e12248-2210-4459-89e3-acb2dd10c338" providerId="ADAL" clId="{E9D49742-0B57-406B-89A5-967862ED1968}" dt="2023-12-19T12:23:37.092" v="1296" actId="478"/>
          <ac:graphicFrameMkLst>
            <pc:docMk/>
            <pc:sldMk cId="2550416318" sldId="436"/>
            <ac:graphicFrameMk id="6" creationId="{AC8E9F81-47E3-3B31-3789-94E4615A3649}"/>
          </ac:graphicFrameMkLst>
        </pc:graphicFrameChg>
        <pc:graphicFrameChg chg="add del mod">
          <ac:chgData name="Ischanka, Eugen" userId="e4e12248-2210-4459-89e3-acb2dd10c338" providerId="ADAL" clId="{E9D49742-0B57-406B-89A5-967862ED1968}" dt="2023-12-19T12:18:57.606" v="1141" actId="478"/>
          <ac:graphicFrameMkLst>
            <pc:docMk/>
            <pc:sldMk cId="2550416318" sldId="436"/>
            <ac:graphicFrameMk id="9" creationId="{BC2631FC-77CF-41BB-8A93-0F8826ADDEF7}"/>
          </ac:graphicFrameMkLst>
        </pc:graphicFrameChg>
        <pc:graphicFrameChg chg="add del mod ord">
          <ac:chgData name="Ischanka, Eugen" userId="e4e12248-2210-4459-89e3-acb2dd10c338" providerId="ADAL" clId="{E9D49742-0B57-406B-89A5-967862ED1968}" dt="2023-12-19T12:19:45.424" v="1153" actId="478"/>
          <ac:graphicFrameMkLst>
            <pc:docMk/>
            <pc:sldMk cId="2550416318" sldId="436"/>
            <ac:graphicFrameMk id="10" creationId="{0CFACA80-2E83-334D-A359-3470044E41DD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2:34:04.241" v="1459"/>
          <ac:graphicFrameMkLst>
            <pc:docMk/>
            <pc:sldMk cId="2550416318" sldId="436"/>
            <ac:graphicFrameMk id="11" creationId="{BC2631FC-77CF-41BB-8A93-0F8826ADDEF7}"/>
          </ac:graphicFrameMkLst>
        </pc:graphicFrameChg>
        <pc:graphicFrameChg chg="add mod modGraphic">
          <ac:chgData name="Ischanka, Eugen" userId="e4e12248-2210-4459-89e3-acb2dd10c338" providerId="ADAL" clId="{E9D49742-0B57-406B-89A5-967862ED1968}" dt="2023-12-19T12:49:45.150" v="1530" actId="1076"/>
          <ac:graphicFrameMkLst>
            <pc:docMk/>
            <pc:sldMk cId="2550416318" sldId="436"/>
            <ac:graphicFrameMk id="12" creationId="{B03B9AB6-0284-25A5-ADF2-486627D4B1C2}"/>
          </ac:graphicFrameMkLst>
        </pc:graphicFrameChg>
        <pc:graphicFrameChg chg="del">
          <ac:chgData name="Ischanka, Eugen" userId="e4e12248-2210-4459-89e3-acb2dd10c338" providerId="ADAL" clId="{E9D49742-0B57-406B-89A5-967862ED1968}" dt="2023-12-19T12:17:19.169" v="1135" actId="478"/>
          <ac:graphicFrameMkLst>
            <pc:docMk/>
            <pc:sldMk cId="2550416318" sldId="436"/>
            <ac:graphicFrameMk id="16" creationId="{616865F0-17F3-A8D7-DE88-63F200F42D21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2:49:35.669" v="1528" actId="1076"/>
        <pc:sldMkLst>
          <pc:docMk/>
          <pc:sldMk cId="685150365" sldId="437"/>
        </pc:sldMkLst>
        <pc:graphicFrameChg chg="add mod ord">
          <ac:chgData name="Ischanka, Eugen" userId="e4e12248-2210-4459-89e3-acb2dd10c338" providerId="ADAL" clId="{E9D49742-0B57-406B-89A5-967862ED1968}" dt="2023-12-19T12:39:19.308" v="1494"/>
          <ac:graphicFrameMkLst>
            <pc:docMk/>
            <pc:sldMk cId="685150365" sldId="437"/>
            <ac:graphicFrameMk id="7" creationId="{7226D4B9-D036-3373-978A-76BCFAAE5C6D}"/>
          </ac:graphicFrameMkLst>
        </pc:graphicFrameChg>
        <pc:graphicFrameChg chg="del">
          <ac:chgData name="Ischanka, Eugen" userId="e4e12248-2210-4459-89e3-acb2dd10c338" providerId="ADAL" clId="{E9D49742-0B57-406B-89A5-967862ED1968}" dt="2023-12-19T12:31:17.087" v="1402" actId="478"/>
          <ac:graphicFrameMkLst>
            <pc:docMk/>
            <pc:sldMk cId="685150365" sldId="437"/>
            <ac:graphicFrameMk id="11" creationId="{BC2631FC-77CF-41BB-8A93-0F8826ADDEF7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49:35.669" v="1528" actId="1076"/>
          <ac:graphicFrameMkLst>
            <pc:docMk/>
            <pc:sldMk cId="685150365" sldId="437"/>
            <ac:graphicFrameMk id="12" creationId="{B03B9AB6-0284-25A5-ADF2-486627D4B1C2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2:52:43.772" v="1587"/>
        <pc:sldMkLst>
          <pc:docMk/>
          <pc:sldMk cId="2276803522" sldId="438"/>
        </pc:sldMkLst>
        <pc:graphicFrameChg chg="del">
          <ac:chgData name="Ischanka, Eugen" userId="e4e12248-2210-4459-89e3-acb2dd10c338" providerId="ADAL" clId="{E9D49742-0B57-406B-89A5-967862ED1968}" dt="2023-12-19T12:37:47.490" v="1474" actId="478"/>
          <ac:graphicFrameMkLst>
            <pc:docMk/>
            <pc:sldMk cId="2276803522" sldId="438"/>
            <ac:graphicFrameMk id="7" creationId="{7226D4B9-D036-3373-978A-76BCFAAE5C6D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2:52:43.772" v="1587"/>
          <ac:graphicFrameMkLst>
            <pc:docMk/>
            <pc:sldMk cId="2276803522" sldId="438"/>
            <ac:graphicFrameMk id="9" creationId="{C5C778F4-7371-4AA5-82DB-AC098518A223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49:39.052" v="1529" actId="1076"/>
          <ac:graphicFrameMkLst>
            <pc:docMk/>
            <pc:sldMk cId="2276803522" sldId="438"/>
            <ac:graphicFrameMk id="12" creationId="{B03B9AB6-0284-25A5-ADF2-486627D4B1C2}"/>
          </ac:graphicFrameMkLst>
        </pc:graphicFrameChg>
      </pc:sldChg>
      <pc:sldChg chg="addSp delSp modSp add del mod">
        <pc:chgData name="Ischanka, Eugen" userId="e4e12248-2210-4459-89e3-acb2dd10c338" providerId="ADAL" clId="{E9D49742-0B57-406B-89A5-967862ED1968}" dt="2023-12-19T12:55:00.656" v="1618" actId="47"/>
        <pc:sldMkLst>
          <pc:docMk/>
          <pc:sldMk cId="401019228" sldId="439"/>
        </pc:sldMkLst>
        <pc:graphicFrameChg chg="add mod">
          <ac:chgData name="Ischanka, Eugen" userId="e4e12248-2210-4459-89e3-acb2dd10c338" providerId="ADAL" clId="{E9D49742-0B57-406B-89A5-967862ED1968}" dt="2023-12-19T12:50:42.776" v="1536"/>
          <ac:graphicFrameMkLst>
            <pc:docMk/>
            <pc:sldMk cId="401019228" sldId="439"/>
            <ac:graphicFrameMk id="7" creationId="{30469706-DA84-4344-94D7-FE3626D3717C}"/>
          </ac:graphicFrameMkLst>
        </pc:graphicFrameChg>
        <pc:graphicFrameChg chg="add del">
          <ac:chgData name="Ischanka, Eugen" userId="e4e12248-2210-4459-89e3-acb2dd10c338" providerId="ADAL" clId="{E9D49742-0B57-406B-89A5-967862ED1968}" dt="2023-12-19T12:51:07.676" v="1543" actId="478"/>
          <ac:graphicFrameMkLst>
            <pc:docMk/>
            <pc:sldMk cId="401019228" sldId="439"/>
            <ac:graphicFrameMk id="9" creationId="{C5C778F4-7371-4AA5-82DB-AC098518A223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2:52:47.578" v="1590" actId="108"/>
          <ac:graphicFrameMkLst>
            <pc:docMk/>
            <pc:sldMk cId="401019228" sldId="439"/>
            <ac:graphicFrameMk id="10" creationId="{30469706-DA84-4344-94D7-FE3626D3717C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52:24.806" v="1586" actId="1076"/>
          <ac:graphicFrameMkLst>
            <pc:docMk/>
            <pc:sldMk cId="401019228" sldId="439"/>
            <ac:graphicFrameMk id="12" creationId="{B03B9AB6-0284-25A5-ADF2-486627D4B1C2}"/>
          </ac:graphicFrameMkLst>
        </pc:graphicFrameChg>
      </pc:sldChg>
      <pc:sldChg chg="modSp add mod">
        <pc:chgData name="Ischanka, Eugen" userId="e4e12248-2210-4459-89e3-acb2dd10c338" providerId="ADAL" clId="{E9D49742-0B57-406B-89A5-967862ED1968}" dt="2023-12-19T12:56:31.464" v="1654"/>
        <pc:sldMkLst>
          <pc:docMk/>
          <pc:sldMk cId="727571472" sldId="440"/>
        </pc:sldMkLst>
        <pc:graphicFrameChg chg="mod ord">
          <ac:chgData name="Ischanka, Eugen" userId="e4e12248-2210-4459-89e3-acb2dd10c338" providerId="ADAL" clId="{E9D49742-0B57-406B-89A5-967862ED1968}" dt="2023-12-19T12:56:31.464" v="1654"/>
          <ac:graphicFrameMkLst>
            <pc:docMk/>
            <pc:sldMk cId="727571472" sldId="440"/>
            <ac:graphicFrameMk id="10" creationId="{30469706-DA84-4344-94D7-FE3626D3717C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3:00:42.776" v="1729"/>
        <pc:sldMkLst>
          <pc:docMk/>
          <pc:sldMk cId="3771994516" sldId="441"/>
        </pc:sldMkLst>
        <pc:graphicFrameChg chg="add mod ord">
          <ac:chgData name="Ischanka, Eugen" userId="e4e12248-2210-4459-89e3-acb2dd10c338" providerId="ADAL" clId="{E9D49742-0B57-406B-89A5-967862ED1968}" dt="2023-12-19T13:00:42.776" v="1729"/>
          <ac:graphicFrameMkLst>
            <pc:docMk/>
            <pc:sldMk cId="3771994516" sldId="441"/>
            <ac:graphicFrameMk id="7" creationId="{6333C55B-257B-4C43-933C-6EB6CA6C52DF}"/>
          </ac:graphicFrameMkLst>
        </pc:graphicFrameChg>
        <pc:graphicFrameChg chg="del">
          <ac:chgData name="Ischanka, Eugen" userId="e4e12248-2210-4459-89e3-acb2dd10c338" providerId="ADAL" clId="{E9D49742-0B57-406B-89A5-967862ED1968}" dt="2023-12-19T12:53:57.626" v="1600" actId="478"/>
          <ac:graphicFrameMkLst>
            <pc:docMk/>
            <pc:sldMk cId="3771994516" sldId="441"/>
            <ac:graphicFrameMk id="10" creationId="{30469706-DA84-4344-94D7-FE3626D3717C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55:46.141" v="1649" actId="1076"/>
          <ac:graphicFrameMkLst>
            <pc:docMk/>
            <pc:sldMk cId="3771994516" sldId="441"/>
            <ac:graphicFrameMk id="12" creationId="{B03B9AB6-0284-25A5-ADF2-486627D4B1C2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3:00:47.007" v="1732" actId="108"/>
        <pc:sldMkLst>
          <pc:docMk/>
          <pc:sldMk cId="4123959484" sldId="442"/>
        </pc:sldMkLst>
        <pc:graphicFrameChg chg="del">
          <ac:chgData name="Ischanka, Eugen" userId="e4e12248-2210-4459-89e3-acb2dd10c338" providerId="ADAL" clId="{E9D49742-0B57-406B-89A5-967862ED1968}" dt="2023-12-19T12:57:57.827" v="1666" actId="478"/>
          <ac:graphicFrameMkLst>
            <pc:docMk/>
            <pc:sldMk cId="4123959484" sldId="442"/>
            <ac:graphicFrameMk id="7" creationId="{6333C55B-257B-4C43-933C-6EB6CA6C52DF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3:00:47.007" v="1732" actId="108"/>
          <ac:graphicFrameMkLst>
            <pc:docMk/>
            <pc:sldMk cId="4123959484" sldId="442"/>
            <ac:graphicFrameMk id="9" creationId="{0993530F-FBA6-4684-ADD4-D51BE8873CE3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3:00:30.925" v="1728" actId="1076"/>
          <ac:graphicFrameMkLst>
            <pc:docMk/>
            <pc:sldMk cId="4123959484" sldId="442"/>
            <ac:graphicFrameMk id="12" creationId="{B03B9AB6-0284-25A5-ADF2-486627D4B1C2}"/>
          </ac:graphicFrameMkLst>
        </pc:graphicFrameChg>
      </pc:sldChg>
    </pc:docChg>
  </pc:docChgLst>
  <pc:docChgLst>
    <pc:chgData name="Ruf, Marco" userId="3b8c6530-da78-4814-8de8-b82a03d7bb67" providerId="ADAL" clId="{478682CF-5BC8-4243-8E94-298FB4610A2C}"/>
    <pc:docChg chg="undo custSel addSld delSld modSld">
      <pc:chgData name="Ruf, Marco" userId="3b8c6530-da78-4814-8de8-b82a03d7bb67" providerId="ADAL" clId="{478682CF-5BC8-4243-8E94-298FB4610A2C}" dt="2024-06-28T07:51:25.714" v="516" actId="20577"/>
      <pc:docMkLst>
        <pc:docMk/>
      </pc:docMkLst>
      <pc:sldChg chg="del">
        <pc:chgData name="Ruf, Marco" userId="3b8c6530-da78-4814-8de8-b82a03d7bb67" providerId="ADAL" clId="{478682CF-5BC8-4243-8E94-298FB4610A2C}" dt="2024-06-28T07:43:02.883" v="444" actId="47"/>
        <pc:sldMkLst>
          <pc:docMk/>
          <pc:sldMk cId="182752618" sldId="340"/>
        </pc:sldMkLst>
      </pc:sldChg>
      <pc:sldChg chg="addSp modSp mod">
        <pc:chgData name="Ruf, Marco" userId="3b8c6530-da78-4814-8de8-b82a03d7bb67" providerId="ADAL" clId="{478682CF-5BC8-4243-8E94-298FB4610A2C}" dt="2024-06-28T07:51:25.714" v="516" actId="20577"/>
        <pc:sldMkLst>
          <pc:docMk/>
          <pc:sldMk cId="2487441990" sldId="436"/>
        </pc:sldMkLst>
        <pc:spChg chg="add mod">
          <ac:chgData name="Ruf, Marco" userId="3b8c6530-da78-4814-8de8-b82a03d7bb67" providerId="ADAL" clId="{478682CF-5BC8-4243-8E94-298FB4610A2C}" dt="2024-06-28T07:51:25.714" v="516" actId="20577"/>
          <ac:spMkLst>
            <pc:docMk/>
            <pc:sldMk cId="2487441990" sldId="436"/>
            <ac:spMk id="8" creationId="{D374597E-3D75-D084-22AD-48D004DFC246}"/>
          </ac:spMkLst>
        </pc:spChg>
      </pc:sldChg>
      <pc:sldChg chg="modSp add mod">
        <pc:chgData name="Ruf, Marco" userId="3b8c6530-da78-4814-8de8-b82a03d7bb67" providerId="ADAL" clId="{478682CF-5BC8-4243-8E94-298FB4610A2C}" dt="2024-06-28T07:32:30.439" v="77" actId="20577"/>
        <pc:sldMkLst>
          <pc:docMk/>
          <pc:sldMk cId="3897732735" sldId="440"/>
        </pc:sldMkLst>
        <pc:spChg chg="mod">
          <ac:chgData name="Ruf, Marco" userId="3b8c6530-da78-4814-8de8-b82a03d7bb67" providerId="ADAL" clId="{478682CF-5BC8-4243-8E94-298FB4610A2C}" dt="2024-06-28T07:32:30.439" v="77" actId="20577"/>
          <ac:spMkLst>
            <pc:docMk/>
            <pc:sldMk cId="3897732735" sldId="440"/>
            <ac:spMk id="5" creationId="{1AE49182-1520-1D37-15DE-4AE48AB23C50}"/>
          </ac:spMkLst>
        </pc:spChg>
        <pc:spChg chg="mod">
          <ac:chgData name="Ruf, Marco" userId="3b8c6530-da78-4814-8de8-b82a03d7bb67" providerId="ADAL" clId="{478682CF-5BC8-4243-8E94-298FB4610A2C}" dt="2024-06-28T07:31:48.549" v="16" actId="20577"/>
          <ac:spMkLst>
            <pc:docMk/>
            <pc:sldMk cId="3897732735" sldId="440"/>
            <ac:spMk id="6" creationId="{D00DEBA2-2C97-6902-FF71-8A523050357F}"/>
          </ac:spMkLst>
        </pc:spChg>
        <pc:spChg chg="mod">
          <ac:chgData name="Ruf, Marco" userId="3b8c6530-da78-4814-8de8-b82a03d7bb67" providerId="ADAL" clId="{478682CF-5BC8-4243-8E94-298FB4610A2C}" dt="2024-06-28T07:31:43.029" v="2"/>
          <ac:spMkLst>
            <pc:docMk/>
            <pc:sldMk cId="3897732735" sldId="440"/>
            <ac:spMk id="7" creationId="{9743B41B-322F-61BC-7046-C7581B884CEA}"/>
          </ac:spMkLst>
        </pc:spChg>
      </pc:sldChg>
      <pc:sldChg chg="modSp add mod">
        <pc:chgData name="Ruf, Marco" userId="3b8c6530-da78-4814-8de8-b82a03d7bb67" providerId="ADAL" clId="{478682CF-5BC8-4243-8E94-298FB4610A2C}" dt="2024-06-28T07:32:14.406" v="40" actId="20577"/>
        <pc:sldMkLst>
          <pc:docMk/>
          <pc:sldMk cId="2218634339" sldId="441"/>
        </pc:sldMkLst>
        <pc:spChg chg="mod">
          <ac:chgData name="Ruf, Marco" userId="3b8c6530-da78-4814-8de8-b82a03d7bb67" providerId="ADAL" clId="{478682CF-5BC8-4243-8E94-298FB4610A2C}" dt="2024-06-28T07:32:14.406" v="40" actId="20577"/>
          <ac:spMkLst>
            <pc:docMk/>
            <pc:sldMk cId="2218634339" sldId="441"/>
            <ac:spMk id="3" creationId="{183A5CA0-0C98-F128-5B49-C4548A75CBA6}"/>
          </ac:spMkLst>
        </pc:spChg>
        <pc:spChg chg="mod">
          <ac:chgData name="Ruf, Marco" userId="3b8c6530-da78-4814-8de8-b82a03d7bb67" providerId="ADAL" clId="{478682CF-5BC8-4243-8E94-298FB4610A2C}" dt="2024-06-28T07:31:36.476" v="1"/>
          <ac:spMkLst>
            <pc:docMk/>
            <pc:sldMk cId="2218634339" sldId="441"/>
            <ac:spMk id="4" creationId="{E80279AA-E29F-825E-9789-DA21DD5E62A9}"/>
          </ac:spMkLst>
        </pc:spChg>
      </pc:sldChg>
      <pc:sldChg chg="addSp modSp add mod">
        <pc:chgData name="Ruf, Marco" userId="3b8c6530-da78-4814-8de8-b82a03d7bb67" providerId="ADAL" clId="{478682CF-5BC8-4243-8E94-298FB4610A2C}" dt="2024-06-28T07:42:44.944" v="443" actId="20577"/>
        <pc:sldMkLst>
          <pc:docMk/>
          <pc:sldMk cId="2408683364" sldId="442"/>
        </pc:sldMkLst>
        <pc:spChg chg="mod">
          <ac:chgData name="Ruf, Marco" userId="3b8c6530-da78-4814-8de8-b82a03d7bb67" providerId="ADAL" clId="{478682CF-5BC8-4243-8E94-298FB4610A2C}" dt="2024-06-28T07:32:08.976" v="27" actId="20577"/>
          <ac:spMkLst>
            <pc:docMk/>
            <pc:sldMk cId="2408683364" sldId="442"/>
            <ac:spMk id="3" creationId="{0285063C-FDED-09B1-64B1-09F69028E40E}"/>
          </ac:spMkLst>
        </pc:spChg>
        <pc:spChg chg="mod">
          <ac:chgData name="Ruf, Marco" userId="3b8c6530-da78-4814-8de8-b82a03d7bb67" providerId="ADAL" clId="{478682CF-5BC8-4243-8E94-298FB4610A2C}" dt="2024-06-28T07:40:27.675" v="293" actId="20577"/>
          <ac:spMkLst>
            <pc:docMk/>
            <pc:sldMk cId="2408683364" sldId="442"/>
            <ac:spMk id="7" creationId="{916F6425-81D9-908B-7295-42F46C993598}"/>
          </ac:spMkLst>
        </pc:spChg>
        <pc:spChg chg="add mod">
          <ac:chgData name="Ruf, Marco" userId="3b8c6530-da78-4814-8de8-b82a03d7bb67" providerId="ADAL" clId="{478682CF-5BC8-4243-8E94-298FB4610A2C}" dt="2024-06-28T07:40:43.601" v="295" actId="1076"/>
          <ac:spMkLst>
            <pc:docMk/>
            <pc:sldMk cId="2408683364" sldId="442"/>
            <ac:spMk id="9" creationId="{62AC465A-D567-C92B-E498-1934B0C43330}"/>
          </ac:spMkLst>
        </pc:spChg>
        <pc:spChg chg="mod">
          <ac:chgData name="Ruf, Marco" userId="3b8c6530-da78-4814-8de8-b82a03d7bb67" providerId="ADAL" clId="{478682CF-5BC8-4243-8E94-298FB4610A2C}" dt="2024-06-28T07:32:04.089" v="18"/>
          <ac:spMkLst>
            <pc:docMk/>
            <pc:sldMk cId="2408683364" sldId="442"/>
            <ac:spMk id="20" creationId="{CE4776AB-BCB5-D386-9F09-4E5BED267800}"/>
          </ac:spMkLst>
        </pc:spChg>
        <pc:graphicFrameChg chg="modGraphic">
          <ac:chgData name="Ruf, Marco" userId="3b8c6530-da78-4814-8de8-b82a03d7bb67" providerId="ADAL" clId="{478682CF-5BC8-4243-8E94-298FB4610A2C}" dt="2024-06-28T07:35:48.615" v="269" actId="20577"/>
          <ac:graphicFrameMkLst>
            <pc:docMk/>
            <pc:sldMk cId="2408683364" sldId="442"/>
            <ac:graphicFrameMk id="2" creationId="{6662AD6F-F6D3-CDE2-2E49-AF314621F392}"/>
          </ac:graphicFrameMkLst>
        </pc:graphicFrameChg>
        <pc:graphicFrameChg chg="mod modGraphic">
          <ac:chgData name="Ruf, Marco" userId="3b8c6530-da78-4814-8de8-b82a03d7bb67" providerId="ADAL" clId="{478682CF-5BC8-4243-8E94-298FB4610A2C}" dt="2024-06-28T07:42:44.944" v="443" actId="20577"/>
          <ac:graphicFrameMkLst>
            <pc:docMk/>
            <pc:sldMk cId="2408683364" sldId="442"/>
            <ac:graphicFrameMk id="4" creationId="{DF2280C4-C1D2-7B54-B02A-B732AE4EBBED}"/>
          </ac:graphicFrameMkLst>
        </pc:graphicFrameChg>
      </pc:sldChg>
    </pc:docChg>
  </pc:docChgLst>
  <pc:docChgLst>
    <pc:chgData name="Ischanka, Eugen" userId="e4e12248-2210-4459-89e3-acb2dd10c338" providerId="ADAL" clId="{E5C2C1EA-4C15-4A8F-96AB-4C323E595D9E}"/>
    <pc:docChg chg="modSld">
      <pc:chgData name="Ischanka, Eugen" userId="e4e12248-2210-4459-89e3-acb2dd10c338" providerId="ADAL" clId="{E5C2C1EA-4C15-4A8F-96AB-4C323E595D9E}" dt="2023-10-12T07:38:42.422" v="51" actId="20577"/>
      <pc:docMkLst>
        <pc:docMk/>
      </pc:docMkLst>
      <pc:sldChg chg="modSp mod">
        <pc:chgData name="Ischanka, Eugen" userId="e4e12248-2210-4459-89e3-acb2dd10c338" providerId="ADAL" clId="{E5C2C1EA-4C15-4A8F-96AB-4C323E595D9E}" dt="2023-10-12T07:38:42.422" v="51" actId="20577"/>
        <pc:sldMkLst>
          <pc:docMk/>
          <pc:sldMk cId="14659807" sldId="290"/>
        </pc:sldMkLst>
        <pc:spChg chg="mod">
          <ac:chgData name="Ischanka, Eugen" userId="e4e12248-2210-4459-89e3-acb2dd10c338" providerId="ADAL" clId="{E5C2C1EA-4C15-4A8F-96AB-4C323E595D9E}" dt="2023-10-12T07:37:45.724" v="30" actId="6549"/>
          <ac:spMkLst>
            <pc:docMk/>
            <pc:sldMk cId="14659807" sldId="290"/>
            <ac:spMk id="18" creationId="{67C6C777-8115-6C29-7E49-11A595D2CECF}"/>
          </ac:spMkLst>
        </pc:spChg>
        <pc:spChg chg="mod">
          <ac:chgData name="Ischanka, Eugen" userId="e4e12248-2210-4459-89e3-acb2dd10c338" providerId="ADAL" clId="{E5C2C1EA-4C15-4A8F-96AB-4C323E595D9E}" dt="2023-10-12T07:38:07.162" v="35" actId="20577"/>
          <ac:spMkLst>
            <pc:docMk/>
            <pc:sldMk cId="14659807" sldId="290"/>
            <ac:spMk id="20" creationId="{02F748E7-DCEE-C988-D3C3-E28ACF4645A6}"/>
          </ac:spMkLst>
        </pc:spChg>
        <pc:spChg chg="mod">
          <ac:chgData name="Ischanka, Eugen" userId="e4e12248-2210-4459-89e3-acb2dd10c338" providerId="ADAL" clId="{E5C2C1EA-4C15-4A8F-96AB-4C323E595D9E}" dt="2023-10-12T07:38:18.942" v="42" actId="20577"/>
          <ac:spMkLst>
            <pc:docMk/>
            <pc:sldMk cId="14659807" sldId="290"/>
            <ac:spMk id="38" creationId="{6E059A38-D7D4-EA4D-B861-05BDF5642774}"/>
          </ac:spMkLst>
        </pc:spChg>
        <pc:spChg chg="mod">
          <ac:chgData name="Ischanka, Eugen" userId="e4e12248-2210-4459-89e3-acb2dd10c338" providerId="ADAL" clId="{E5C2C1EA-4C15-4A8F-96AB-4C323E595D9E}" dt="2023-10-12T07:38:24.207" v="47" actId="20577"/>
          <ac:spMkLst>
            <pc:docMk/>
            <pc:sldMk cId="14659807" sldId="290"/>
            <ac:spMk id="39" creationId="{77E9AE00-D012-083A-A790-367F2D977C06}"/>
          </ac:spMkLst>
        </pc:spChg>
        <pc:spChg chg="mod">
          <ac:chgData name="Ischanka, Eugen" userId="e4e12248-2210-4459-89e3-acb2dd10c338" providerId="ADAL" clId="{E5C2C1EA-4C15-4A8F-96AB-4C323E595D9E}" dt="2023-10-12T07:38:42.422" v="51" actId="20577"/>
          <ac:spMkLst>
            <pc:docMk/>
            <pc:sldMk cId="14659807" sldId="290"/>
            <ac:spMk id="41" creationId="{0DE0EFC3-BB7E-86FF-01BF-CFDA8D8F1327}"/>
          </ac:spMkLst>
        </pc:spChg>
      </pc:sldChg>
    </pc:docChg>
  </pc:docChgLst>
  <pc:docChgLst>
    <pc:chgData name="Karkaba, Ali" userId="fa222b13-d879-44b1-af5a-d37867fdb466" providerId="ADAL" clId="{7A9EAFA0-FA7A-4AAB-AC4E-9783060BE0C4}"/>
    <pc:docChg chg="undo custSel addSld delSld modSld sldOrd">
      <pc:chgData name="Karkaba, Ali" userId="fa222b13-d879-44b1-af5a-d37867fdb466" providerId="ADAL" clId="{7A9EAFA0-FA7A-4AAB-AC4E-9783060BE0C4}" dt="2023-12-04T13:23:16.679" v="3631" actId="20577"/>
      <pc:docMkLst>
        <pc:docMk/>
      </pc:docMkLst>
      <pc:sldChg chg="addSp delSp modSp mod">
        <pc:chgData name="Karkaba, Ali" userId="fa222b13-d879-44b1-af5a-d37867fdb466" providerId="ADAL" clId="{7A9EAFA0-FA7A-4AAB-AC4E-9783060BE0C4}" dt="2023-11-24T17:45:28.189" v="1225" actId="1076"/>
        <pc:sldMkLst>
          <pc:docMk/>
          <pc:sldMk cId="37923318" sldId="344"/>
        </pc:sldMkLst>
        <pc:spChg chg="add del mod">
          <ac:chgData name="Karkaba, Ali" userId="fa222b13-d879-44b1-af5a-d37867fdb466" providerId="ADAL" clId="{7A9EAFA0-FA7A-4AAB-AC4E-9783060BE0C4}" dt="2023-11-23T15:39:44.636" v="1015" actId="478"/>
          <ac:spMkLst>
            <pc:docMk/>
            <pc:sldMk cId="37923318" sldId="344"/>
            <ac:spMk id="2" creationId="{CAF25A78-05AA-1819-2E7B-17377C1EDFD9}"/>
          </ac:spMkLst>
        </pc:spChg>
        <pc:spChg chg="add mod">
          <ac:chgData name="Karkaba, Ali" userId="fa222b13-d879-44b1-af5a-d37867fdb466" providerId="ADAL" clId="{7A9EAFA0-FA7A-4AAB-AC4E-9783060BE0C4}" dt="2023-11-24T17:45:28.189" v="1225" actId="1076"/>
          <ac:spMkLst>
            <pc:docMk/>
            <pc:sldMk cId="37923318" sldId="344"/>
            <ac:spMk id="5" creationId="{D746F66A-9C36-03B9-1E8E-48FCCC3AB3BE}"/>
          </ac:spMkLst>
        </pc:spChg>
      </pc:sldChg>
      <pc:sldChg chg="addSp delSp modSp mod">
        <pc:chgData name="Karkaba, Ali" userId="fa222b13-d879-44b1-af5a-d37867fdb466" providerId="ADAL" clId="{7A9EAFA0-FA7A-4AAB-AC4E-9783060BE0C4}" dt="2023-11-24T17:47:48.315" v="1242" actId="478"/>
        <pc:sldMkLst>
          <pc:docMk/>
          <pc:sldMk cId="2920645228" sldId="347"/>
        </pc:sldMkLst>
        <pc:spChg chg="mod">
          <ac:chgData name="Karkaba, Ali" userId="fa222b13-d879-44b1-af5a-d37867fdb466" providerId="ADAL" clId="{7A9EAFA0-FA7A-4AAB-AC4E-9783060BE0C4}" dt="2023-11-22T09:28:51.994" v="593" actId="1076"/>
          <ac:spMkLst>
            <pc:docMk/>
            <pc:sldMk cId="2920645228" sldId="347"/>
            <ac:spMk id="2" creationId="{7467A27A-2494-51AD-0D72-82FEDD081CB8}"/>
          </ac:spMkLst>
        </pc:spChg>
        <pc:spChg chg="add del mod">
          <ac:chgData name="Karkaba, Ali" userId="fa222b13-d879-44b1-af5a-d37867fdb466" providerId="ADAL" clId="{7A9EAFA0-FA7A-4AAB-AC4E-9783060BE0C4}" dt="2023-11-24T17:47:48.315" v="1242" actId="478"/>
          <ac:spMkLst>
            <pc:docMk/>
            <pc:sldMk cId="2920645228" sldId="347"/>
            <ac:spMk id="18" creationId="{78C6656D-6043-8ADA-1EC3-E7E4933706E8}"/>
          </ac:spMkLst>
        </pc:spChg>
        <pc:spChg chg="add mod">
          <ac:chgData name="Karkaba, Ali" userId="fa222b13-d879-44b1-af5a-d37867fdb466" providerId="ADAL" clId="{7A9EAFA0-FA7A-4AAB-AC4E-9783060BE0C4}" dt="2023-11-24T17:47:45.381" v="1241" actId="1076"/>
          <ac:spMkLst>
            <pc:docMk/>
            <pc:sldMk cId="2920645228" sldId="347"/>
            <ac:spMk id="19" creationId="{7BCA35D3-653F-DCD5-E2F7-217D8BA56537}"/>
          </ac:spMkLst>
        </pc:spChg>
        <pc:spChg chg="add del mod">
          <ac:chgData name="Karkaba, Ali" userId="fa222b13-d879-44b1-af5a-d37867fdb466" providerId="ADAL" clId="{7A9EAFA0-FA7A-4AAB-AC4E-9783060BE0C4}" dt="2023-11-22T09:27:06.637" v="590" actId="21"/>
          <ac:spMkLst>
            <pc:docMk/>
            <pc:sldMk cId="2920645228" sldId="347"/>
            <ac:spMk id="19" creationId="{D45693CB-D3D2-5957-13B7-3860AE929EDF}"/>
          </ac:spMkLst>
        </pc:spChg>
        <pc:graphicFrameChg chg="add del mod">
          <ac:chgData name="Karkaba, Ali" userId="fa222b13-d879-44b1-af5a-d37867fdb466" providerId="ADAL" clId="{7A9EAFA0-FA7A-4AAB-AC4E-9783060BE0C4}" dt="2023-11-22T07:41:05.937" v="64"/>
          <ac:graphicFrameMkLst>
            <pc:docMk/>
            <pc:sldMk cId="2920645228" sldId="347"/>
            <ac:graphicFrameMk id="18" creationId="{5F2C5506-3272-8E04-AC0F-334EA2987CF0}"/>
          </ac:graphicFrameMkLst>
        </pc:graphicFrameChg>
      </pc:sldChg>
      <pc:sldChg chg="addSp delSp modSp mod">
        <pc:chgData name="Karkaba, Ali" userId="fa222b13-d879-44b1-af5a-d37867fdb466" providerId="ADAL" clId="{7A9EAFA0-FA7A-4AAB-AC4E-9783060BE0C4}" dt="2023-11-24T17:47:54.423" v="1244" actId="1076"/>
        <pc:sldMkLst>
          <pc:docMk/>
          <pc:sldMk cId="2096330239" sldId="351"/>
        </pc:sldMkLst>
        <pc:spChg chg="add del">
          <ac:chgData name="Karkaba, Ali" userId="fa222b13-d879-44b1-af5a-d37867fdb466" providerId="ADAL" clId="{7A9EAFA0-FA7A-4AAB-AC4E-9783060BE0C4}" dt="2023-11-24T17:45:34.510" v="1230" actId="478"/>
          <ac:spMkLst>
            <pc:docMk/>
            <pc:sldMk cId="2096330239" sldId="351"/>
            <ac:spMk id="2" creationId="{38263E92-ADD0-6D05-AAA9-82D675F71C1B}"/>
          </ac:spMkLst>
        </pc:spChg>
        <pc:spChg chg="add del">
          <ac:chgData name="Karkaba, Ali" userId="fa222b13-d879-44b1-af5a-d37867fdb466" providerId="ADAL" clId="{7A9EAFA0-FA7A-4AAB-AC4E-9783060BE0C4}" dt="2023-11-24T17:45:35.163" v="1231" actId="478"/>
          <ac:spMkLst>
            <pc:docMk/>
            <pc:sldMk cId="2096330239" sldId="351"/>
            <ac:spMk id="5" creationId="{82C48CC5-C5E1-0DDD-65F8-72F0D40F7004}"/>
          </ac:spMkLst>
        </pc:spChg>
        <pc:spChg chg="add del">
          <ac:chgData name="Karkaba, Ali" userId="fa222b13-d879-44b1-af5a-d37867fdb466" providerId="ADAL" clId="{7A9EAFA0-FA7A-4AAB-AC4E-9783060BE0C4}" dt="2023-11-24T17:45:33.286" v="1229" actId="478"/>
          <ac:spMkLst>
            <pc:docMk/>
            <pc:sldMk cId="2096330239" sldId="351"/>
            <ac:spMk id="6" creationId="{E9502970-F319-7E87-E9D7-9B373ADAC60C}"/>
          </ac:spMkLst>
        </pc:spChg>
        <pc:spChg chg="add mod">
          <ac:chgData name="Karkaba, Ali" userId="fa222b13-d879-44b1-af5a-d37867fdb466" providerId="ADAL" clId="{7A9EAFA0-FA7A-4AAB-AC4E-9783060BE0C4}" dt="2023-11-24T17:47:54.423" v="1244" actId="1076"/>
          <ac:spMkLst>
            <pc:docMk/>
            <pc:sldMk cId="2096330239" sldId="351"/>
            <ac:spMk id="8" creationId="{C5AB0DB2-8F97-63F5-8211-F533CC55F677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6:18:35.040" v="3429" actId="1076"/>
        <pc:sldMkLst>
          <pc:docMk/>
          <pc:sldMk cId="1816946488" sldId="353"/>
        </pc:sldMkLst>
        <pc:spChg chg="add del mod">
          <ac:chgData name="Karkaba, Ali" userId="fa222b13-d879-44b1-af5a-d37867fdb466" providerId="ADAL" clId="{7A9EAFA0-FA7A-4AAB-AC4E-9783060BE0C4}" dt="2023-12-01T14:03:45.292" v="3135" actId="478"/>
          <ac:spMkLst>
            <pc:docMk/>
            <pc:sldMk cId="1816946488" sldId="353"/>
            <ac:spMk id="2" creationId="{56411D5D-7358-F449-AD76-71E3730D095C}"/>
          </ac:spMkLst>
        </pc:spChg>
        <pc:spChg chg="del mod">
          <ac:chgData name="Karkaba, Ali" userId="fa222b13-d879-44b1-af5a-d37867fdb466" providerId="ADAL" clId="{7A9EAFA0-FA7A-4AAB-AC4E-9783060BE0C4}" dt="2023-11-30T14:38:53.220" v="2479" actId="478"/>
          <ac:spMkLst>
            <pc:docMk/>
            <pc:sldMk cId="1816946488" sldId="353"/>
            <ac:spMk id="2" creationId="{B0F3964D-801E-6F53-46D0-9CF2F93F2E9E}"/>
          </ac:spMkLst>
        </pc:spChg>
        <pc:spChg chg="add mod">
          <ac:chgData name="Karkaba, Ali" userId="fa222b13-d879-44b1-af5a-d37867fdb466" providerId="ADAL" clId="{7A9EAFA0-FA7A-4AAB-AC4E-9783060BE0C4}" dt="2023-11-30T15:44:49.778" v="2840" actId="120"/>
          <ac:spMkLst>
            <pc:docMk/>
            <pc:sldMk cId="1816946488" sldId="353"/>
            <ac:spMk id="5" creationId="{8AB7F037-B181-46FE-DFAF-7309DCA52021}"/>
          </ac:spMkLst>
        </pc:spChg>
        <pc:spChg chg="add mod">
          <ac:chgData name="Karkaba, Ali" userId="fa222b13-d879-44b1-af5a-d37867fdb466" providerId="ADAL" clId="{7A9EAFA0-FA7A-4AAB-AC4E-9783060BE0C4}" dt="2023-12-01T16:14:55.219" v="3380" actId="20577"/>
          <ac:spMkLst>
            <pc:docMk/>
            <pc:sldMk cId="1816946488" sldId="353"/>
            <ac:spMk id="6" creationId="{A156ED70-1655-8129-2811-B92A20E53338}"/>
          </ac:spMkLst>
        </pc:spChg>
        <pc:spChg chg="add mod">
          <ac:chgData name="Karkaba, Ali" userId="fa222b13-d879-44b1-af5a-d37867fdb466" providerId="ADAL" clId="{7A9EAFA0-FA7A-4AAB-AC4E-9783060BE0C4}" dt="2023-11-24T18:37:20.913" v="1568" actId="1076"/>
          <ac:spMkLst>
            <pc:docMk/>
            <pc:sldMk cId="1816946488" sldId="353"/>
            <ac:spMk id="6" creationId="{BB786AB8-764D-109E-D0C3-FDC2901CBF7A}"/>
          </ac:spMkLst>
        </pc:spChg>
        <pc:spChg chg="mod">
          <ac:chgData name="Karkaba, Ali" userId="fa222b13-d879-44b1-af5a-d37867fdb466" providerId="ADAL" clId="{7A9EAFA0-FA7A-4AAB-AC4E-9783060BE0C4}" dt="2023-12-01T15:55:49.851" v="3200" actId="20577"/>
          <ac:spMkLst>
            <pc:docMk/>
            <pc:sldMk cId="1816946488" sldId="353"/>
            <ac:spMk id="10" creationId="{026E4F25-DC3B-F9BC-C487-359382D2D60C}"/>
          </ac:spMkLst>
        </pc:spChg>
        <pc:spChg chg="add mod">
          <ac:chgData name="Karkaba, Ali" userId="fa222b13-d879-44b1-af5a-d37867fdb466" providerId="ADAL" clId="{7A9EAFA0-FA7A-4AAB-AC4E-9783060BE0C4}" dt="2023-12-01T16:18:31.410" v="3427" actId="14100"/>
          <ac:spMkLst>
            <pc:docMk/>
            <pc:sldMk cId="1816946488" sldId="353"/>
            <ac:spMk id="11" creationId="{C7818A42-EC56-C93E-2478-C166D6BA0D4F}"/>
          </ac:spMkLst>
        </pc:spChg>
        <pc:spChg chg="mod">
          <ac:chgData name="Karkaba, Ali" userId="fa222b13-d879-44b1-af5a-d37867fdb466" providerId="ADAL" clId="{7A9EAFA0-FA7A-4AAB-AC4E-9783060BE0C4}" dt="2023-12-01T16:15:44.703" v="3420" actId="20577"/>
          <ac:spMkLst>
            <pc:docMk/>
            <pc:sldMk cId="1816946488" sldId="353"/>
            <ac:spMk id="13" creationId="{BCC1D7F3-08E3-423D-279D-384C14F47E9B}"/>
          </ac:spMkLst>
        </pc:spChg>
        <pc:spChg chg="add mod">
          <ac:chgData name="Karkaba, Ali" userId="fa222b13-d879-44b1-af5a-d37867fdb466" providerId="ADAL" clId="{7A9EAFA0-FA7A-4AAB-AC4E-9783060BE0C4}" dt="2023-12-01T16:18:35.040" v="3429" actId="1076"/>
          <ac:spMkLst>
            <pc:docMk/>
            <pc:sldMk cId="1816946488" sldId="353"/>
            <ac:spMk id="14" creationId="{41D6AEB9-7F27-D808-6259-BC31FCD4FD79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17:32.419" v="3145" actId="478"/>
        <pc:sldMkLst>
          <pc:docMk/>
          <pc:sldMk cId="2438554093" sldId="356"/>
        </pc:sldMkLst>
        <pc:spChg chg="add mod">
          <ac:chgData name="Karkaba, Ali" userId="fa222b13-d879-44b1-af5a-d37867fdb466" providerId="ADAL" clId="{7A9EAFA0-FA7A-4AAB-AC4E-9783060BE0C4}" dt="2023-12-01T14:14:55.390" v="3144"/>
          <ac:spMkLst>
            <pc:docMk/>
            <pc:sldMk cId="2438554093" sldId="356"/>
            <ac:spMk id="2" creationId="{2C79E892-654B-0CA7-FC99-E62518FA9822}"/>
          </ac:spMkLst>
        </pc:spChg>
        <pc:spChg chg="add del mod">
          <ac:chgData name="Karkaba, Ali" userId="fa222b13-d879-44b1-af5a-d37867fdb466" providerId="ADAL" clId="{7A9EAFA0-FA7A-4AAB-AC4E-9783060BE0C4}" dt="2023-12-01T14:17:32.419" v="3145" actId="478"/>
          <ac:spMkLst>
            <pc:docMk/>
            <pc:sldMk cId="2438554093" sldId="356"/>
            <ac:spMk id="5" creationId="{2431A324-FC1E-D2D8-13E8-DFC7C8B28A1D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17:34.661" v="3146" actId="478"/>
        <pc:sldMkLst>
          <pc:docMk/>
          <pc:sldMk cId="1757976955" sldId="357"/>
        </pc:sldMkLst>
        <pc:spChg chg="mod">
          <ac:chgData name="Karkaba, Ali" userId="fa222b13-d879-44b1-af5a-d37867fdb466" providerId="ADAL" clId="{7A9EAFA0-FA7A-4AAB-AC4E-9783060BE0C4}" dt="2023-12-01T13:30:30.359" v="3127" actId="1076"/>
          <ac:spMkLst>
            <pc:docMk/>
            <pc:sldMk cId="1757976955" sldId="357"/>
            <ac:spMk id="2" creationId="{32BA16D1-1D48-81E9-517C-4E0D0D29CDC0}"/>
          </ac:spMkLst>
        </pc:spChg>
        <pc:spChg chg="add del mod">
          <ac:chgData name="Karkaba, Ali" userId="fa222b13-d879-44b1-af5a-d37867fdb466" providerId="ADAL" clId="{7A9EAFA0-FA7A-4AAB-AC4E-9783060BE0C4}" dt="2023-12-01T14:17:34.661" v="3146" actId="478"/>
          <ac:spMkLst>
            <pc:docMk/>
            <pc:sldMk cId="1757976955" sldId="357"/>
            <ac:spMk id="5" creationId="{84ADED60-B9F7-74DC-5C0C-8D79B0634903}"/>
          </ac:spMkLst>
        </pc:spChg>
      </pc:sldChg>
      <pc:sldChg chg="addSp delSp modSp mod">
        <pc:chgData name="Karkaba, Ali" userId="fa222b13-d879-44b1-af5a-d37867fdb466" providerId="ADAL" clId="{7A9EAFA0-FA7A-4AAB-AC4E-9783060BE0C4}" dt="2023-11-28T16:18:10.155" v="2109" actId="1037"/>
        <pc:sldMkLst>
          <pc:docMk/>
          <pc:sldMk cId="2275226650" sldId="358"/>
        </pc:sldMkLst>
        <pc:graphicFrameChg chg="add mod modGraphic">
          <ac:chgData name="Karkaba, Ali" userId="fa222b13-d879-44b1-af5a-d37867fdb466" providerId="ADAL" clId="{7A9EAFA0-FA7A-4AAB-AC4E-9783060BE0C4}" dt="2023-11-28T16:18:10.155" v="2109" actId="1037"/>
          <ac:graphicFrameMkLst>
            <pc:docMk/>
            <pc:sldMk cId="2275226650" sldId="358"/>
            <ac:graphicFrameMk id="6" creationId="{0D8A9398-52A2-85B4-7DB4-9401856AF411}"/>
          </ac:graphicFrameMkLst>
        </pc:graphicFrameChg>
        <pc:graphicFrameChg chg="del modGraphic">
          <ac:chgData name="Karkaba, Ali" userId="fa222b13-d879-44b1-af5a-d37867fdb466" providerId="ADAL" clId="{7A9EAFA0-FA7A-4AAB-AC4E-9783060BE0C4}" dt="2023-11-28T16:17:41.739" v="2098" actId="21"/>
          <ac:graphicFrameMkLst>
            <pc:docMk/>
            <pc:sldMk cId="2275226650" sldId="358"/>
            <ac:graphicFrameMk id="17" creationId="{C594F7CA-195A-7D49-2183-583B2B0BC3BE}"/>
          </ac:graphicFrameMkLst>
        </pc:graphicFrameChg>
      </pc:sldChg>
      <pc:sldChg chg="addSp delSp modSp del mod">
        <pc:chgData name="Karkaba, Ali" userId="fa222b13-d879-44b1-af5a-d37867fdb466" providerId="ADAL" clId="{7A9EAFA0-FA7A-4AAB-AC4E-9783060BE0C4}" dt="2023-12-04T08:09:47.531" v="3434" actId="47"/>
        <pc:sldMkLst>
          <pc:docMk/>
          <pc:sldMk cId="342935145" sldId="360"/>
        </pc:sldMkLst>
        <pc:spChg chg="add mod">
          <ac:chgData name="Karkaba, Ali" userId="fa222b13-d879-44b1-af5a-d37867fdb466" providerId="ADAL" clId="{7A9EAFA0-FA7A-4AAB-AC4E-9783060BE0C4}" dt="2023-12-01T16:17:38.096" v="3423" actId="1076"/>
          <ac:spMkLst>
            <pc:docMk/>
            <pc:sldMk cId="342935145" sldId="360"/>
            <ac:spMk id="2" creationId="{EA7402DB-CCE3-76B0-C9BF-8A0F16089DA8}"/>
          </ac:spMkLst>
        </pc:spChg>
        <pc:spChg chg="add del mod">
          <ac:chgData name="Karkaba, Ali" userId="fa222b13-d879-44b1-af5a-d37867fdb466" providerId="ADAL" clId="{7A9EAFA0-FA7A-4AAB-AC4E-9783060BE0C4}" dt="2023-12-01T14:17:36.479" v="3147" actId="478"/>
          <ac:spMkLst>
            <pc:docMk/>
            <pc:sldMk cId="342935145" sldId="360"/>
            <ac:spMk id="5" creationId="{9FECE879-7C58-81A3-8ED9-B73851F0F801}"/>
          </ac:spMkLst>
        </pc:spChg>
      </pc:sldChg>
      <pc:sldChg chg="addSp modSp mod">
        <pc:chgData name="Karkaba, Ali" userId="fa222b13-d879-44b1-af5a-d37867fdb466" providerId="ADAL" clId="{7A9EAFA0-FA7A-4AAB-AC4E-9783060BE0C4}" dt="2023-11-24T17:48:42.929" v="1318" actId="207"/>
        <pc:sldMkLst>
          <pc:docMk/>
          <pc:sldMk cId="573670748" sldId="367"/>
        </pc:sldMkLst>
        <pc:spChg chg="add mod">
          <ac:chgData name="Karkaba, Ali" userId="fa222b13-d879-44b1-af5a-d37867fdb466" providerId="ADAL" clId="{7A9EAFA0-FA7A-4AAB-AC4E-9783060BE0C4}" dt="2023-11-24T17:48:03.670" v="1246" actId="1076"/>
          <ac:spMkLst>
            <pc:docMk/>
            <pc:sldMk cId="573670748" sldId="367"/>
            <ac:spMk id="6" creationId="{D742334A-BA2C-38B4-C758-B568007E846E}"/>
          </ac:spMkLst>
        </pc:spChg>
        <pc:spChg chg="add mod">
          <ac:chgData name="Karkaba, Ali" userId="fa222b13-d879-44b1-af5a-d37867fdb466" providerId="ADAL" clId="{7A9EAFA0-FA7A-4AAB-AC4E-9783060BE0C4}" dt="2023-11-24T17:48:42.929" v="1318" actId="207"/>
          <ac:spMkLst>
            <pc:docMk/>
            <pc:sldMk cId="573670748" sldId="367"/>
            <ac:spMk id="9" creationId="{BD48EE8A-513D-DD24-C7CB-A933F4C908CB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3:27:33.972" v="3124" actId="478"/>
        <pc:sldMkLst>
          <pc:docMk/>
          <pc:sldMk cId="676882289" sldId="372"/>
        </pc:sldMkLst>
        <pc:spChg chg="add del mod">
          <ac:chgData name="Karkaba, Ali" userId="fa222b13-d879-44b1-af5a-d37867fdb466" providerId="ADAL" clId="{7A9EAFA0-FA7A-4AAB-AC4E-9783060BE0C4}" dt="2023-12-01T13:27:33.972" v="3124" actId="478"/>
          <ac:spMkLst>
            <pc:docMk/>
            <pc:sldMk cId="676882289" sldId="372"/>
            <ac:spMk id="5" creationId="{94B7BC4C-8DDC-9102-9704-98F05AD7B615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08:58.433" v="3143" actId="478"/>
        <pc:sldMkLst>
          <pc:docMk/>
          <pc:sldMk cId="2327630279" sldId="373"/>
        </pc:sldMkLst>
        <pc:spChg chg="add del mod">
          <ac:chgData name="Karkaba, Ali" userId="fa222b13-d879-44b1-af5a-d37867fdb466" providerId="ADAL" clId="{7A9EAFA0-FA7A-4AAB-AC4E-9783060BE0C4}" dt="2023-12-01T14:08:58.433" v="3143" actId="478"/>
          <ac:spMkLst>
            <pc:docMk/>
            <pc:sldMk cId="2327630279" sldId="373"/>
            <ac:spMk id="8" creationId="{AD24D483-9128-6512-4956-8483ED1BE1E1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08:56.727" v="3142" actId="478"/>
        <pc:sldMkLst>
          <pc:docMk/>
          <pc:sldMk cId="1800175079" sldId="374"/>
        </pc:sldMkLst>
        <pc:spChg chg="add del mod">
          <ac:chgData name="Karkaba, Ali" userId="fa222b13-d879-44b1-af5a-d37867fdb466" providerId="ADAL" clId="{7A9EAFA0-FA7A-4AAB-AC4E-9783060BE0C4}" dt="2023-12-01T14:08:56.727" v="3142" actId="478"/>
          <ac:spMkLst>
            <pc:docMk/>
            <pc:sldMk cId="1800175079" sldId="374"/>
            <ac:spMk id="6" creationId="{F9EF4E34-D3AC-BE89-C449-345AFCAE1BA9}"/>
          </ac:spMkLst>
        </pc:spChg>
      </pc:sldChg>
      <pc:sldChg chg="addSp delSp modSp mod">
        <pc:chgData name="Karkaba, Ali" userId="fa222b13-d879-44b1-af5a-d37867fdb466" providerId="ADAL" clId="{7A9EAFA0-FA7A-4AAB-AC4E-9783060BE0C4}" dt="2023-12-04T13:23:16.679" v="3631" actId="20577"/>
        <pc:sldMkLst>
          <pc:docMk/>
          <pc:sldMk cId="1621961505" sldId="377"/>
        </pc:sldMkLst>
        <pc:spChg chg="add del mod">
          <ac:chgData name="Karkaba, Ali" userId="fa222b13-d879-44b1-af5a-d37867fdb466" providerId="ADAL" clId="{7A9EAFA0-FA7A-4AAB-AC4E-9783060BE0C4}" dt="2023-12-01T13:27:35.303" v="3125" actId="478"/>
          <ac:spMkLst>
            <pc:docMk/>
            <pc:sldMk cId="1621961505" sldId="377"/>
            <ac:spMk id="2" creationId="{CD37CF75-FBD3-B05B-2A7C-E45F05A309B9}"/>
          </ac:spMkLst>
        </pc:spChg>
        <pc:spChg chg="mod">
          <ac:chgData name="Karkaba, Ali" userId="fa222b13-d879-44b1-af5a-d37867fdb466" providerId="ADAL" clId="{7A9EAFA0-FA7A-4AAB-AC4E-9783060BE0C4}" dt="2023-12-04T13:23:07.305" v="3624" actId="1076"/>
          <ac:spMkLst>
            <pc:docMk/>
            <pc:sldMk cId="1621961505" sldId="377"/>
            <ac:spMk id="6" creationId="{BFCF0DDB-E4E6-C3F4-6969-F5E6AD4E378E}"/>
          </ac:spMkLst>
        </pc:spChg>
        <pc:spChg chg="mod">
          <ac:chgData name="Karkaba, Ali" userId="fa222b13-d879-44b1-af5a-d37867fdb466" providerId="ADAL" clId="{7A9EAFA0-FA7A-4AAB-AC4E-9783060BE0C4}" dt="2023-12-04T13:23:16.679" v="3631" actId="20577"/>
          <ac:spMkLst>
            <pc:docMk/>
            <pc:sldMk cId="1621961505" sldId="377"/>
            <ac:spMk id="14" creationId="{2EB2CB67-4512-27AE-AC8D-1BE3521C1379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3:27:36.520" v="3126" actId="478"/>
        <pc:sldMkLst>
          <pc:docMk/>
          <pc:sldMk cId="1916996503" sldId="382"/>
        </pc:sldMkLst>
        <pc:spChg chg="add del mod">
          <ac:chgData name="Karkaba, Ali" userId="fa222b13-d879-44b1-af5a-d37867fdb466" providerId="ADAL" clId="{7A9EAFA0-FA7A-4AAB-AC4E-9783060BE0C4}" dt="2023-12-01T13:27:36.520" v="3126" actId="478"/>
          <ac:spMkLst>
            <pc:docMk/>
            <pc:sldMk cId="1916996503" sldId="382"/>
            <ac:spMk id="6" creationId="{3321A5DE-4434-57B9-88A7-6D31555A70FF}"/>
          </ac:spMkLst>
        </pc:spChg>
      </pc:sldChg>
      <pc:sldChg chg="addSp delSp modSp mod">
        <pc:chgData name="Karkaba, Ali" userId="fa222b13-d879-44b1-af5a-d37867fdb466" providerId="ADAL" clId="{7A9EAFA0-FA7A-4AAB-AC4E-9783060BE0C4}" dt="2023-11-24T17:45:41.383" v="1233"/>
        <pc:sldMkLst>
          <pc:docMk/>
          <pc:sldMk cId="3567056323" sldId="401"/>
        </pc:sldMkLst>
        <pc:spChg chg="add mod">
          <ac:chgData name="Karkaba, Ali" userId="fa222b13-d879-44b1-af5a-d37867fdb466" providerId="ADAL" clId="{7A9EAFA0-FA7A-4AAB-AC4E-9783060BE0C4}" dt="2023-11-22T09:29:03.087" v="597" actId="1076"/>
          <ac:spMkLst>
            <pc:docMk/>
            <pc:sldMk cId="3567056323" sldId="401"/>
            <ac:spMk id="2" creationId="{0C27A208-0EB0-B7C9-308C-240ED87F1E66}"/>
          </ac:spMkLst>
        </pc:spChg>
        <pc:spChg chg="del">
          <ac:chgData name="Karkaba, Ali" userId="fa222b13-d879-44b1-af5a-d37867fdb466" providerId="ADAL" clId="{7A9EAFA0-FA7A-4AAB-AC4E-9783060BE0C4}" dt="2023-11-21T16:43:14.310" v="0"/>
          <ac:spMkLst>
            <pc:docMk/>
            <pc:sldMk cId="3567056323" sldId="401"/>
            <ac:spMk id="2" creationId="{8B40B4DE-D016-376D-9A0D-A3888807453A}"/>
          </ac:spMkLst>
        </pc:spChg>
        <pc:spChg chg="add mod">
          <ac:chgData name="Karkaba, Ali" userId="fa222b13-d879-44b1-af5a-d37867fdb466" providerId="ADAL" clId="{7A9EAFA0-FA7A-4AAB-AC4E-9783060BE0C4}" dt="2023-11-22T09:22:33.255" v="514" actId="1076"/>
          <ac:spMkLst>
            <pc:docMk/>
            <pc:sldMk cId="3567056323" sldId="401"/>
            <ac:spMk id="8" creationId="{937C5DE2-DA7B-BD5A-E204-6AB07ED952C1}"/>
          </ac:spMkLst>
        </pc:spChg>
        <pc:spChg chg="add del mod">
          <ac:chgData name="Karkaba, Ali" userId="fa222b13-d879-44b1-af5a-d37867fdb466" providerId="ADAL" clId="{7A9EAFA0-FA7A-4AAB-AC4E-9783060BE0C4}" dt="2023-11-24T17:45:31.813" v="1227"/>
          <ac:spMkLst>
            <pc:docMk/>
            <pc:sldMk cId="3567056323" sldId="401"/>
            <ac:spMk id="9" creationId="{461DA742-470F-291A-0B86-15058FAC5902}"/>
          </ac:spMkLst>
        </pc:spChg>
        <pc:spChg chg="add mod">
          <ac:chgData name="Karkaba, Ali" userId="fa222b13-d879-44b1-af5a-d37867fdb466" providerId="ADAL" clId="{7A9EAFA0-FA7A-4AAB-AC4E-9783060BE0C4}" dt="2023-11-22T13:42:01.406" v="706" actId="1076"/>
          <ac:spMkLst>
            <pc:docMk/>
            <pc:sldMk cId="3567056323" sldId="401"/>
            <ac:spMk id="12" creationId="{2FCCEAA2-5E30-B288-0A32-DDC464CE0FBC}"/>
          </ac:spMkLst>
        </pc:spChg>
        <pc:spChg chg="add mod">
          <ac:chgData name="Karkaba, Ali" userId="fa222b13-d879-44b1-af5a-d37867fdb466" providerId="ADAL" clId="{7A9EAFA0-FA7A-4AAB-AC4E-9783060BE0C4}" dt="2023-11-24T17:45:41.383" v="1233"/>
          <ac:spMkLst>
            <pc:docMk/>
            <pc:sldMk cId="3567056323" sldId="401"/>
            <ac:spMk id="13" creationId="{12C0370A-B133-3636-CB4C-1E01CFD1695F}"/>
          </ac:spMkLst>
        </pc:spChg>
        <pc:spChg chg="add del mod">
          <ac:chgData name="Karkaba, Ali" userId="fa222b13-d879-44b1-af5a-d37867fdb466" providerId="ADAL" clId="{7A9EAFA0-FA7A-4AAB-AC4E-9783060BE0C4}" dt="2023-11-22T09:52:36.675" v="679" actId="478"/>
          <ac:spMkLst>
            <pc:docMk/>
            <pc:sldMk cId="3567056323" sldId="401"/>
            <ac:spMk id="21" creationId="{A0094234-AC85-A86E-2D27-95018573FFBD}"/>
          </ac:spMkLst>
        </pc:spChg>
        <pc:spChg chg="add mod">
          <ac:chgData name="Karkaba, Ali" userId="fa222b13-d879-44b1-af5a-d37867fdb466" providerId="ADAL" clId="{7A9EAFA0-FA7A-4AAB-AC4E-9783060BE0C4}" dt="2023-11-22T09:29:11.250" v="599" actId="1076"/>
          <ac:spMkLst>
            <pc:docMk/>
            <pc:sldMk cId="3567056323" sldId="401"/>
            <ac:spMk id="23" creationId="{7123EA98-FE3F-9374-DC38-1D9469214F86}"/>
          </ac:spMkLst>
        </pc:spChg>
        <pc:spChg chg="add mod">
          <ac:chgData name="Karkaba, Ali" userId="fa222b13-d879-44b1-af5a-d37867fdb466" providerId="ADAL" clId="{7A9EAFA0-FA7A-4AAB-AC4E-9783060BE0C4}" dt="2023-11-22T13:28:57.089" v="681" actId="1076"/>
          <ac:spMkLst>
            <pc:docMk/>
            <pc:sldMk cId="3567056323" sldId="401"/>
            <ac:spMk id="25" creationId="{34773F37-E10A-FB96-0F28-AD1EB0B233CE}"/>
          </ac:spMkLst>
        </pc:spChg>
        <pc:spChg chg="add mod">
          <ac:chgData name="Karkaba, Ali" userId="fa222b13-d879-44b1-af5a-d37867fdb466" providerId="ADAL" clId="{7A9EAFA0-FA7A-4AAB-AC4E-9783060BE0C4}" dt="2023-11-22T13:35:16.244" v="687" actId="1076"/>
          <ac:spMkLst>
            <pc:docMk/>
            <pc:sldMk cId="3567056323" sldId="401"/>
            <ac:spMk id="27" creationId="{B92F911E-525A-996F-3BA4-C383EFA92E15}"/>
          </ac:spMkLst>
        </pc:spChg>
        <pc:graphicFrameChg chg="add mod modGraphic">
          <ac:chgData name="Karkaba, Ali" userId="fa222b13-d879-44b1-af5a-d37867fdb466" providerId="ADAL" clId="{7A9EAFA0-FA7A-4AAB-AC4E-9783060BE0C4}" dt="2023-11-22T09:36:02.305" v="666" actId="2166"/>
          <ac:graphicFrameMkLst>
            <pc:docMk/>
            <pc:sldMk cId="3567056323" sldId="401"/>
            <ac:graphicFrameMk id="5" creationId="{F0D27C42-7C02-C669-8CC2-515023734ADC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13:44:07.696" v="773" actId="14734"/>
          <ac:graphicFrameMkLst>
            <pc:docMk/>
            <pc:sldMk cId="3567056323" sldId="401"/>
            <ac:graphicFrameMk id="6" creationId="{B4B8F16B-B076-F67A-A909-227952ED2A66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13:44:04.054" v="772" actId="20577"/>
          <ac:graphicFrameMkLst>
            <pc:docMk/>
            <pc:sldMk cId="3567056323" sldId="401"/>
            <ac:graphicFrameMk id="7" creationId="{BD02E007-7A08-9D8C-EC6F-DEAE675D5405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13:43:17.838" v="742" actId="13926"/>
          <ac:graphicFrameMkLst>
            <pc:docMk/>
            <pc:sldMk cId="3567056323" sldId="401"/>
            <ac:graphicFrameMk id="15" creationId="{46F4D24A-C335-A486-57F1-62B1407AE964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09:31:31.916" v="664" actId="13926"/>
          <ac:graphicFrameMkLst>
            <pc:docMk/>
            <pc:sldMk cId="3567056323" sldId="401"/>
            <ac:graphicFrameMk id="22" creationId="{B7FA8F68-59E4-90B2-2965-83FC15DC5B20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3T15:40:39.222" v="1044"/>
          <ac:graphicFrameMkLst>
            <pc:docMk/>
            <pc:sldMk cId="3567056323" sldId="401"/>
            <ac:graphicFrameMk id="26" creationId="{3B2A4AD4-C561-9BC5-0D5D-AF4A5A1F986D}"/>
          </ac:graphicFrameMkLst>
        </pc:graphicFrameChg>
        <pc:cxnChg chg="add mod">
          <ac:chgData name="Karkaba, Ali" userId="fa222b13-d879-44b1-af5a-d37867fdb466" providerId="ADAL" clId="{7A9EAFA0-FA7A-4AAB-AC4E-9783060BE0C4}" dt="2023-11-24T17:45:30.620" v="1226" actId="14100"/>
          <ac:cxnSpMkLst>
            <pc:docMk/>
            <pc:sldMk cId="3567056323" sldId="401"/>
            <ac:cxnSpMk id="10" creationId="{FF88FCEE-EA00-5067-A258-7EE8A50E16EF}"/>
          </ac:cxnSpMkLst>
        </pc:cxnChg>
      </pc:sldChg>
      <pc:sldChg chg="addSp delSp modSp mod">
        <pc:chgData name="Karkaba, Ali" userId="fa222b13-d879-44b1-af5a-d37867fdb466" providerId="ADAL" clId="{7A9EAFA0-FA7A-4AAB-AC4E-9783060BE0C4}" dt="2023-11-28T15:44:28.031" v="1889" actId="13926"/>
        <pc:sldMkLst>
          <pc:docMk/>
          <pc:sldMk cId="4187003761" sldId="402"/>
        </pc:sldMkLst>
        <pc:spChg chg="del">
          <ac:chgData name="Karkaba, Ali" userId="fa222b13-d879-44b1-af5a-d37867fdb466" providerId="ADAL" clId="{7A9EAFA0-FA7A-4AAB-AC4E-9783060BE0C4}" dt="2023-11-22T14:08:32.937" v="926" actId="478"/>
          <ac:spMkLst>
            <pc:docMk/>
            <pc:sldMk cId="4187003761" sldId="402"/>
            <ac:spMk id="2" creationId="{8B40B4DE-D016-376D-9A0D-A3888807453A}"/>
          </ac:spMkLst>
        </pc:spChg>
        <pc:spChg chg="add mod">
          <ac:chgData name="Karkaba, Ali" userId="fa222b13-d879-44b1-af5a-d37867fdb466" providerId="ADAL" clId="{7A9EAFA0-FA7A-4AAB-AC4E-9783060BE0C4}" dt="2023-11-22T14:10:32.631" v="927"/>
          <ac:spMkLst>
            <pc:docMk/>
            <pc:sldMk cId="4187003761" sldId="402"/>
            <ac:spMk id="6" creationId="{FCACC889-4D76-C5A2-439E-496391F948C8}"/>
          </ac:spMkLst>
        </pc:spChg>
        <pc:spChg chg="add mod">
          <ac:chgData name="Karkaba, Ali" userId="fa222b13-d879-44b1-af5a-d37867fdb466" providerId="ADAL" clId="{7A9EAFA0-FA7A-4AAB-AC4E-9783060BE0C4}" dt="2023-11-23T16:21:38.695" v="1204" actId="14100"/>
          <ac:spMkLst>
            <pc:docMk/>
            <pc:sldMk cId="4187003761" sldId="402"/>
            <ac:spMk id="8" creationId="{4AE497B1-99D9-5443-F7B0-5C3E1C724F86}"/>
          </ac:spMkLst>
        </pc:spChg>
        <pc:spChg chg="add mod">
          <ac:chgData name="Karkaba, Ali" userId="fa222b13-d879-44b1-af5a-d37867fdb466" providerId="ADAL" clId="{7A9EAFA0-FA7A-4AAB-AC4E-9783060BE0C4}" dt="2023-11-23T16:21:41.013" v="1205" actId="14100"/>
          <ac:spMkLst>
            <pc:docMk/>
            <pc:sldMk cId="4187003761" sldId="402"/>
            <ac:spMk id="9" creationId="{FF5DCEE8-D276-F0B2-CDB7-694EEEECD224}"/>
          </ac:spMkLst>
        </pc:spChg>
        <pc:spChg chg="add mod">
          <ac:chgData name="Karkaba, Ali" userId="fa222b13-d879-44b1-af5a-d37867fdb466" providerId="ADAL" clId="{7A9EAFA0-FA7A-4AAB-AC4E-9783060BE0C4}" dt="2023-11-23T16:21:43.050" v="1206" actId="14100"/>
          <ac:spMkLst>
            <pc:docMk/>
            <pc:sldMk cId="4187003761" sldId="402"/>
            <ac:spMk id="11" creationId="{3E819BF8-A2D7-1ED4-E0CD-63D3C1AE32E0}"/>
          </ac:spMkLst>
        </pc:spChg>
        <pc:spChg chg="add del mod">
          <ac:chgData name="Karkaba, Ali" userId="fa222b13-d879-44b1-af5a-d37867fdb466" providerId="ADAL" clId="{7A9EAFA0-FA7A-4AAB-AC4E-9783060BE0C4}" dt="2023-11-24T17:45:32.442" v="1228"/>
          <ac:spMkLst>
            <pc:docMk/>
            <pc:sldMk cId="4187003761" sldId="402"/>
            <ac:spMk id="12" creationId="{15617FD9-8037-E63E-CFDC-FE74E4A17116}"/>
          </ac:spMkLst>
        </pc:spChg>
        <pc:spChg chg="add mod">
          <ac:chgData name="Karkaba, Ali" userId="fa222b13-d879-44b1-af5a-d37867fdb466" providerId="ADAL" clId="{7A9EAFA0-FA7A-4AAB-AC4E-9783060BE0C4}" dt="2023-11-24T17:45:39.043" v="1232"/>
          <ac:spMkLst>
            <pc:docMk/>
            <pc:sldMk cId="4187003761" sldId="402"/>
            <ac:spMk id="13" creationId="{27D64E3F-3DE2-CA8E-1DAD-7C851DC26B27}"/>
          </ac:spMkLst>
        </pc:spChg>
        <pc:graphicFrameChg chg="add mod modGraphic">
          <ac:chgData name="Karkaba, Ali" userId="fa222b13-d879-44b1-af5a-d37867fdb466" providerId="ADAL" clId="{7A9EAFA0-FA7A-4AAB-AC4E-9783060BE0C4}" dt="2023-11-23T16:19:26.080" v="1158" actId="2711"/>
          <ac:graphicFrameMkLst>
            <pc:docMk/>
            <pc:sldMk cId="4187003761" sldId="402"/>
            <ac:graphicFrameMk id="2" creationId="{565DB233-A7C8-EE51-AE23-AE01130B9F5B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3T16:18:23.901" v="1150" actId="2711"/>
          <ac:graphicFrameMkLst>
            <pc:docMk/>
            <pc:sldMk cId="4187003761" sldId="402"/>
            <ac:graphicFrameMk id="5" creationId="{D9740274-648E-224F-35E2-194987B49D0A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8T15:44:28.031" v="1889" actId="13926"/>
          <ac:graphicFrameMkLst>
            <pc:docMk/>
            <pc:sldMk cId="4187003761" sldId="402"/>
            <ac:graphicFrameMk id="7" creationId="{296A4CEB-2572-8CD0-DD27-DB8A7EB305C0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3T16:23:43.143" v="1215" actId="2711"/>
          <ac:graphicFrameMkLst>
            <pc:docMk/>
            <pc:sldMk cId="4187003761" sldId="402"/>
            <ac:graphicFrameMk id="10" creationId="{FFD5219F-7AD9-BF55-EA70-EE9EA508B125}"/>
          </ac:graphicFrameMkLst>
        </pc:graphicFrameChg>
      </pc:sldChg>
      <pc:sldChg chg="addSp delSp modSp mod ord">
        <pc:chgData name="Karkaba, Ali" userId="fa222b13-d879-44b1-af5a-d37867fdb466" providerId="ADAL" clId="{7A9EAFA0-FA7A-4AAB-AC4E-9783060BE0C4}" dt="2023-11-28T16:29:27.043" v="2120" actId="20577"/>
        <pc:sldMkLst>
          <pc:docMk/>
          <pc:sldMk cId="595939842" sldId="404"/>
        </pc:sldMkLst>
        <pc:spChg chg="add del mod">
          <ac:chgData name="Karkaba, Ali" userId="fa222b13-d879-44b1-af5a-d37867fdb466" providerId="ADAL" clId="{7A9EAFA0-FA7A-4AAB-AC4E-9783060BE0C4}" dt="2023-11-24T18:47:34.884" v="1597" actId="478"/>
          <ac:spMkLst>
            <pc:docMk/>
            <pc:sldMk cId="595939842" sldId="404"/>
            <ac:spMk id="2" creationId="{22B19187-490F-C08F-FC7B-691E60CAF37B}"/>
          </ac:spMkLst>
        </pc:spChg>
        <pc:spChg chg="mod">
          <ac:chgData name="Karkaba, Ali" userId="fa222b13-d879-44b1-af5a-d37867fdb466" providerId="ADAL" clId="{7A9EAFA0-FA7A-4AAB-AC4E-9783060BE0C4}" dt="2023-11-24T18:49:28.894" v="1640" actId="20577"/>
          <ac:spMkLst>
            <pc:docMk/>
            <pc:sldMk cId="595939842" sldId="404"/>
            <ac:spMk id="3" creationId="{69AD368B-7CC9-0FD7-2B5F-C9873C56000C}"/>
          </ac:spMkLst>
        </pc:spChg>
        <pc:spChg chg="del">
          <ac:chgData name="Karkaba, Ali" userId="fa222b13-d879-44b1-af5a-d37867fdb466" providerId="ADAL" clId="{7A9EAFA0-FA7A-4AAB-AC4E-9783060BE0C4}" dt="2023-11-24T18:39:23.908" v="1569" actId="478"/>
          <ac:spMkLst>
            <pc:docMk/>
            <pc:sldMk cId="595939842" sldId="404"/>
            <ac:spMk id="5" creationId="{07BD017A-A99F-5400-4AED-8B4430C3DC11}"/>
          </ac:spMkLst>
        </pc:spChg>
        <pc:spChg chg="add mod">
          <ac:chgData name="Karkaba, Ali" userId="fa222b13-d879-44b1-af5a-d37867fdb466" providerId="ADAL" clId="{7A9EAFA0-FA7A-4AAB-AC4E-9783060BE0C4}" dt="2023-11-24T18:48:57.814" v="1618" actId="20577"/>
          <ac:spMkLst>
            <pc:docMk/>
            <pc:sldMk cId="595939842" sldId="404"/>
            <ac:spMk id="7" creationId="{79AC6BFE-6975-A203-429D-05706566ECEE}"/>
          </ac:spMkLst>
        </pc:spChg>
        <pc:spChg chg="add mod">
          <ac:chgData name="Karkaba, Ali" userId="fa222b13-d879-44b1-af5a-d37867fdb466" providerId="ADAL" clId="{7A9EAFA0-FA7A-4AAB-AC4E-9783060BE0C4}" dt="2023-11-24T19:25:20.194" v="1747" actId="1076"/>
          <ac:spMkLst>
            <pc:docMk/>
            <pc:sldMk cId="595939842" sldId="404"/>
            <ac:spMk id="9" creationId="{3EBBBB67-AF11-CD46-5A12-6045D3C24DAB}"/>
          </ac:spMkLst>
        </pc:spChg>
        <pc:graphicFrameChg chg="add del mod">
          <ac:chgData name="Karkaba, Ali" userId="fa222b13-d879-44b1-af5a-d37867fdb466" providerId="ADAL" clId="{7A9EAFA0-FA7A-4AAB-AC4E-9783060BE0C4}" dt="2023-11-24T19:25:21.680" v="1748" actId="478"/>
          <ac:graphicFrameMkLst>
            <pc:docMk/>
            <pc:sldMk cId="595939842" sldId="404"/>
            <ac:graphicFrameMk id="6" creationId="{A052713F-D9F3-E0E2-129D-FD641E413E4B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8T16:29:27.043" v="2120" actId="20577"/>
          <ac:graphicFrameMkLst>
            <pc:docMk/>
            <pc:sldMk cId="595939842" sldId="404"/>
            <ac:graphicFrameMk id="8" creationId="{6E2246D2-E601-B16C-0D8D-069A992A77C3}"/>
          </ac:graphicFrameMkLst>
        </pc:graphicFrameChg>
        <pc:graphicFrameChg chg="add mod ord">
          <ac:chgData name="Karkaba, Ali" userId="fa222b13-d879-44b1-af5a-d37867fdb466" providerId="ADAL" clId="{7A9EAFA0-FA7A-4AAB-AC4E-9783060BE0C4}" dt="2023-11-24T19:26:35.411" v="1764" actId="208"/>
          <ac:graphicFrameMkLst>
            <pc:docMk/>
            <pc:sldMk cId="595939842" sldId="404"/>
            <ac:graphicFrameMk id="10" creationId="{90A76A84-4222-2D2D-A99C-FB9508D6E896}"/>
          </ac:graphicFrameMkLst>
        </pc:graphicFrameChg>
      </pc:sldChg>
      <pc:sldChg chg="addSp delSp modSp mod">
        <pc:chgData name="Karkaba, Ali" userId="fa222b13-d879-44b1-af5a-d37867fdb466" providerId="ADAL" clId="{7A9EAFA0-FA7A-4AAB-AC4E-9783060BE0C4}" dt="2023-11-28T16:33:57.795" v="2143" actId="20577"/>
        <pc:sldMkLst>
          <pc:docMk/>
          <pc:sldMk cId="1015150644" sldId="405"/>
        </pc:sldMkLst>
        <pc:spChg chg="del">
          <ac:chgData name="Karkaba, Ali" userId="fa222b13-d879-44b1-af5a-d37867fdb466" providerId="ADAL" clId="{7A9EAFA0-FA7A-4AAB-AC4E-9783060BE0C4}" dt="2023-11-24T18:57:02.788" v="1657" actId="478"/>
          <ac:spMkLst>
            <pc:docMk/>
            <pc:sldMk cId="1015150644" sldId="405"/>
            <ac:spMk id="2" creationId="{22B19187-490F-C08F-FC7B-691E60CAF37B}"/>
          </ac:spMkLst>
        </pc:spChg>
        <pc:spChg chg="mod">
          <ac:chgData name="Karkaba, Ali" userId="fa222b13-d879-44b1-af5a-d37867fdb466" providerId="ADAL" clId="{7A9EAFA0-FA7A-4AAB-AC4E-9783060BE0C4}" dt="2023-11-28T16:29:51.776" v="2124" actId="20577"/>
          <ac:spMkLst>
            <pc:docMk/>
            <pc:sldMk cId="1015150644" sldId="405"/>
            <ac:spMk id="3" creationId="{69AD368B-7CC9-0FD7-2B5F-C9873C56000C}"/>
          </ac:spMkLst>
        </pc:spChg>
        <pc:spChg chg="del">
          <ac:chgData name="Karkaba, Ali" userId="fa222b13-d879-44b1-af5a-d37867fdb466" providerId="ADAL" clId="{7A9EAFA0-FA7A-4AAB-AC4E-9783060BE0C4}" dt="2023-11-24T18:56:56.999" v="1653" actId="478"/>
          <ac:spMkLst>
            <pc:docMk/>
            <pc:sldMk cId="1015150644" sldId="405"/>
            <ac:spMk id="5" creationId="{07BD017A-A99F-5400-4AED-8B4430C3DC11}"/>
          </ac:spMkLst>
        </pc:spChg>
        <pc:graphicFrameChg chg="add del mod">
          <ac:chgData name="Karkaba, Ali" userId="fa222b13-d879-44b1-af5a-d37867fdb466" providerId="ADAL" clId="{7A9EAFA0-FA7A-4AAB-AC4E-9783060BE0C4}" dt="2023-11-24T19:26:45.131" v="1765" actId="478"/>
          <ac:graphicFrameMkLst>
            <pc:docMk/>
            <pc:sldMk cId="1015150644" sldId="405"/>
            <ac:graphicFrameMk id="6" creationId="{2F8349D6-C259-4B3A-8DD0-4D98FADEF5D0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8T16:33:57.795" v="2143" actId="20577"/>
          <ac:graphicFrameMkLst>
            <pc:docMk/>
            <pc:sldMk cId="1015150644" sldId="405"/>
            <ac:graphicFrameMk id="7" creationId="{56035799-E919-E284-30D9-5CCCE07E5D5E}"/>
          </ac:graphicFrameMkLst>
        </pc:graphicFrameChg>
        <pc:graphicFrameChg chg="add mod ord">
          <ac:chgData name="Karkaba, Ali" userId="fa222b13-d879-44b1-af5a-d37867fdb466" providerId="ADAL" clId="{7A9EAFA0-FA7A-4AAB-AC4E-9783060BE0C4}" dt="2023-11-24T19:28:03.914" v="1784" actId="171"/>
          <ac:graphicFrameMkLst>
            <pc:docMk/>
            <pc:sldMk cId="1015150644" sldId="405"/>
            <ac:graphicFrameMk id="8" creationId="{F27DB7CC-707C-448D-9067-A4D57D43C07E}"/>
          </ac:graphicFrameMkLst>
        </pc:graphicFrameChg>
      </pc:sldChg>
      <pc:sldChg chg="addSp delSp modSp add mod">
        <pc:chgData name="Karkaba, Ali" userId="fa222b13-d879-44b1-af5a-d37867fdb466" providerId="ADAL" clId="{7A9EAFA0-FA7A-4AAB-AC4E-9783060BE0C4}" dt="2023-12-01T16:18:38.737" v="3431" actId="1076"/>
        <pc:sldMkLst>
          <pc:docMk/>
          <pc:sldMk cId="627093849" sldId="406"/>
        </pc:sldMkLst>
        <pc:spChg chg="del">
          <ac:chgData name="Karkaba, Ali" userId="fa222b13-d879-44b1-af5a-d37867fdb466" providerId="ADAL" clId="{7A9EAFA0-FA7A-4AAB-AC4E-9783060BE0C4}" dt="2023-11-24T18:07:29.910" v="1450" actId="478"/>
          <ac:spMkLst>
            <pc:docMk/>
            <pc:sldMk cId="627093849" sldId="406"/>
            <ac:spMk id="2" creationId="{06EA805A-E95A-50B5-26B8-F96A1BE7F5DC}"/>
          </ac:spMkLst>
        </pc:spChg>
        <pc:spChg chg="add mod">
          <ac:chgData name="Karkaba, Ali" userId="fa222b13-d879-44b1-af5a-d37867fdb466" providerId="ADAL" clId="{7A9EAFA0-FA7A-4AAB-AC4E-9783060BE0C4}" dt="2023-11-28T16:04:27.013" v="2041" actId="1076"/>
          <ac:spMkLst>
            <pc:docMk/>
            <pc:sldMk cId="627093849" sldId="406"/>
            <ac:spMk id="2" creationId="{0BC48995-CA42-61EE-7FAA-4CDCCFE8C292}"/>
          </ac:spMkLst>
        </pc:spChg>
        <pc:spChg chg="mod">
          <ac:chgData name="Karkaba, Ali" userId="fa222b13-d879-44b1-af5a-d37867fdb466" providerId="ADAL" clId="{7A9EAFA0-FA7A-4AAB-AC4E-9783060BE0C4}" dt="2023-11-24T18:37:03.357" v="1565" actId="20577"/>
          <ac:spMkLst>
            <pc:docMk/>
            <pc:sldMk cId="627093849" sldId="406"/>
            <ac:spMk id="3" creationId="{A8229CC4-DA39-03D3-9A54-5BF7CC3A662C}"/>
          </ac:spMkLst>
        </pc:spChg>
        <pc:spChg chg="del">
          <ac:chgData name="Karkaba, Ali" userId="fa222b13-d879-44b1-af5a-d37867fdb466" providerId="ADAL" clId="{7A9EAFA0-FA7A-4AAB-AC4E-9783060BE0C4}" dt="2023-11-24T18:07:31.904" v="1451" actId="478"/>
          <ac:spMkLst>
            <pc:docMk/>
            <pc:sldMk cId="627093849" sldId="406"/>
            <ac:spMk id="5" creationId="{B5D36531-8000-FE38-406D-D29EC6FE68FB}"/>
          </ac:spMkLst>
        </pc:spChg>
        <pc:spChg chg="mod">
          <ac:chgData name="Karkaba, Ali" userId="fa222b13-d879-44b1-af5a-d37867fdb466" providerId="ADAL" clId="{7A9EAFA0-FA7A-4AAB-AC4E-9783060BE0C4}" dt="2023-12-01T16:15:49.119" v="3421"/>
          <ac:spMkLst>
            <pc:docMk/>
            <pc:sldMk cId="627093849" sldId="406"/>
            <ac:spMk id="5" creationId="{DEAC4E73-0F80-D976-5A14-09B37DB99F2A}"/>
          </ac:spMkLst>
        </pc:spChg>
        <pc:spChg chg="add mod">
          <ac:chgData name="Karkaba, Ali" userId="fa222b13-d879-44b1-af5a-d37867fdb466" providerId="ADAL" clId="{7A9EAFA0-FA7A-4AAB-AC4E-9783060BE0C4}" dt="2023-11-24T18:37:06.092" v="1566" actId="1076"/>
          <ac:spMkLst>
            <pc:docMk/>
            <pc:sldMk cId="627093849" sldId="406"/>
            <ac:spMk id="6" creationId="{23054580-5DD8-EFCA-FBE1-5F62A64F6A36}"/>
          </ac:spMkLst>
        </pc:spChg>
        <pc:spChg chg="add del mod">
          <ac:chgData name="Karkaba, Ali" userId="fa222b13-d879-44b1-af5a-d37867fdb466" providerId="ADAL" clId="{7A9EAFA0-FA7A-4AAB-AC4E-9783060BE0C4}" dt="2023-12-01T16:15:50.986" v="3422" actId="478"/>
          <ac:spMkLst>
            <pc:docMk/>
            <pc:sldMk cId="627093849" sldId="406"/>
            <ac:spMk id="6" creationId="{E7C9DC92-9095-AC5D-4E71-FD21EDAFD5A4}"/>
          </ac:spMkLst>
        </pc:spChg>
        <pc:spChg chg="add mod">
          <ac:chgData name="Karkaba, Ali" userId="fa222b13-d879-44b1-af5a-d37867fdb466" providerId="ADAL" clId="{7A9EAFA0-FA7A-4AAB-AC4E-9783060BE0C4}" dt="2023-12-01T16:18:38.737" v="3431" actId="1076"/>
          <ac:spMkLst>
            <pc:docMk/>
            <pc:sldMk cId="627093849" sldId="406"/>
            <ac:spMk id="7" creationId="{42675031-8519-DB77-6A6E-EA1BFF58CFFA}"/>
          </ac:spMkLst>
        </pc:spChg>
        <pc:spChg chg="mod">
          <ac:chgData name="Karkaba, Ali" userId="fa222b13-d879-44b1-af5a-d37867fdb466" providerId="ADAL" clId="{7A9EAFA0-FA7A-4AAB-AC4E-9783060BE0C4}" dt="2023-12-01T16:10:46.185" v="3360" actId="20577"/>
          <ac:spMkLst>
            <pc:docMk/>
            <pc:sldMk cId="627093849" sldId="406"/>
            <ac:spMk id="10" creationId="{026E4F25-DC3B-F9BC-C487-359382D2D60C}"/>
          </ac:spMkLst>
        </pc:spChg>
        <pc:spChg chg="add del mod">
          <ac:chgData name="Karkaba, Ali" userId="fa222b13-d879-44b1-af5a-d37867fdb466" providerId="ADAL" clId="{7A9EAFA0-FA7A-4AAB-AC4E-9783060BE0C4}" dt="2023-11-24T18:30:49.179" v="1502" actId="478"/>
          <ac:spMkLst>
            <pc:docMk/>
            <pc:sldMk cId="627093849" sldId="406"/>
            <ac:spMk id="14" creationId="{A4F0622E-8DFD-DAF3-CA33-47233FACA43C}"/>
          </ac:spMkLst>
        </pc:spChg>
        <pc:graphicFrameChg chg="add del mod">
          <ac:chgData name="Karkaba, Ali" userId="fa222b13-d879-44b1-af5a-d37867fdb466" providerId="ADAL" clId="{7A9EAFA0-FA7A-4AAB-AC4E-9783060BE0C4}" dt="2023-11-24T18:24:40.983" v="1462" actId="478"/>
          <ac:graphicFrameMkLst>
            <pc:docMk/>
            <pc:sldMk cId="627093849" sldId="406"/>
            <ac:graphicFrameMk id="7" creationId="{0AFF9570-784C-F0F6-A5A1-D5108641722F}"/>
          </ac:graphicFrameMkLst>
        </pc:graphicFrameChg>
        <pc:graphicFrameChg chg="del mod">
          <ac:chgData name="Karkaba, Ali" userId="fa222b13-d879-44b1-af5a-d37867fdb466" providerId="ADAL" clId="{7A9EAFA0-FA7A-4AAB-AC4E-9783060BE0C4}" dt="2023-11-24T18:30:32.475" v="1498" actId="478"/>
          <ac:graphicFrameMkLst>
            <pc:docMk/>
            <pc:sldMk cId="627093849" sldId="406"/>
            <ac:graphicFrameMk id="8" creationId="{F721A110-647B-4370-B71D-D27ABBDB5DE3}"/>
          </ac:graphicFrameMkLst>
        </pc:graphicFrameChg>
        <pc:graphicFrameChg chg="mod modGraphic">
          <ac:chgData name="Karkaba, Ali" userId="fa222b13-d879-44b1-af5a-d37867fdb466" providerId="ADAL" clId="{7A9EAFA0-FA7A-4AAB-AC4E-9783060BE0C4}" dt="2023-11-24T18:36:41.815" v="1535" actId="403"/>
          <ac:graphicFrameMkLst>
            <pc:docMk/>
            <pc:sldMk cId="627093849" sldId="406"/>
            <ac:graphicFrameMk id="9" creationId="{74A27068-7CF8-0E9A-5FF0-DA130878344B}"/>
          </ac:graphicFrameMkLst>
        </pc:graphicFrameChg>
        <pc:graphicFrameChg chg="add del mod">
          <ac:chgData name="Karkaba, Ali" userId="fa222b13-d879-44b1-af5a-d37867fdb466" providerId="ADAL" clId="{7A9EAFA0-FA7A-4AAB-AC4E-9783060BE0C4}" dt="2023-11-24T18:28:10.923" v="1467" actId="478"/>
          <ac:graphicFrameMkLst>
            <pc:docMk/>
            <pc:sldMk cId="627093849" sldId="406"/>
            <ac:graphicFrameMk id="11" creationId="{82EFF4A9-5500-4693-8F16-BCD1127ADA3E}"/>
          </ac:graphicFrameMkLst>
        </pc:graphicFrameChg>
        <pc:graphicFrameChg chg="add del mod">
          <ac:chgData name="Karkaba, Ali" userId="fa222b13-d879-44b1-af5a-d37867fdb466" providerId="ADAL" clId="{7A9EAFA0-FA7A-4AAB-AC4E-9783060BE0C4}" dt="2023-11-24T18:33:09.001" v="1520" actId="478"/>
          <ac:graphicFrameMkLst>
            <pc:docMk/>
            <pc:sldMk cId="627093849" sldId="406"/>
            <ac:graphicFrameMk id="12" creationId="{82EFF4A9-5500-4693-8F16-BCD1127ADA3E}"/>
          </ac:graphicFrameMkLst>
        </pc:graphicFrameChg>
        <pc:graphicFrameChg chg="add mod">
          <ac:chgData name="Karkaba, Ali" userId="fa222b13-d879-44b1-af5a-d37867fdb466" providerId="ADAL" clId="{7A9EAFA0-FA7A-4AAB-AC4E-9783060BE0C4}" dt="2023-11-24T18:33:14.347" v="1522" actId="1076"/>
          <ac:graphicFrameMkLst>
            <pc:docMk/>
            <pc:sldMk cId="627093849" sldId="406"/>
            <ac:graphicFrameMk id="15" creationId="{82EFF4A9-5500-4693-8F16-BCD1127ADA3E}"/>
          </ac:graphicFrameMkLst>
        </pc:graphicFrameChg>
      </pc:sldChg>
      <pc:sldChg chg="addSp delSp modSp add mod">
        <pc:chgData name="Karkaba, Ali" userId="fa222b13-d879-44b1-af5a-d37867fdb466" providerId="ADAL" clId="{7A9EAFA0-FA7A-4AAB-AC4E-9783060BE0C4}" dt="2023-12-04T09:10:07.823" v="3568" actId="1076"/>
        <pc:sldMkLst>
          <pc:docMk/>
          <pc:sldMk cId="875385177" sldId="407"/>
        </pc:sldMkLst>
        <pc:spChg chg="del">
          <ac:chgData name="Karkaba, Ali" userId="fa222b13-d879-44b1-af5a-d37867fdb466" providerId="ADAL" clId="{7A9EAFA0-FA7A-4AAB-AC4E-9783060BE0C4}" dt="2023-11-24T19:37:23.065" v="1787" actId="478"/>
          <ac:spMkLst>
            <pc:docMk/>
            <pc:sldMk cId="875385177" sldId="407"/>
            <ac:spMk id="2" creationId="{2284762B-27E6-BA3C-573D-157FCBC637B2}"/>
          </ac:spMkLst>
        </pc:spChg>
        <pc:spChg chg="mod">
          <ac:chgData name="Karkaba, Ali" userId="fa222b13-d879-44b1-af5a-d37867fdb466" providerId="ADAL" clId="{7A9EAFA0-FA7A-4AAB-AC4E-9783060BE0C4}" dt="2023-11-24T19:45:27.993" v="1842" actId="20577"/>
          <ac:spMkLst>
            <pc:docMk/>
            <pc:sldMk cId="875385177" sldId="407"/>
            <ac:spMk id="3" creationId="{78390983-499F-4D08-BCEE-B585BFBEEC85}"/>
          </ac:spMkLst>
        </pc:spChg>
        <pc:spChg chg="add mod">
          <ac:chgData name="Karkaba, Ali" userId="fa222b13-d879-44b1-af5a-d37867fdb466" providerId="ADAL" clId="{7A9EAFA0-FA7A-4AAB-AC4E-9783060BE0C4}" dt="2023-11-30T16:04:59.521" v="3112" actId="20577"/>
          <ac:spMkLst>
            <pc:docMk/>
            <pc:sldMk cId="875385177" sldId="407"/>
            <ac:spMk id="3" creationId="{7EE3B9DD-6E98-30DD-4A78-2E9F913D385A}"/>
          </ac:spMkLst>
        </pc:spChg>
        <pc:spChg chg="mod">
          <ac:chgData name="Karkaba, Ali" userId="fa222b13-d879-44b1-af5a-d37867fdb466" providerId="ADAL" clId="{7A9EAFA0-FA7A-4AAB-AC4E-9783060BE0C4}" dt="2023-12-04T09:10:07.823" v="3568" actId="1076"/>
          <ac:spMkLst>
            <pc:docMk/>
            <pc:sldMk cId="875385177" sldId="407"/>
            <ac:spMk id="3" creationId="{A5141223-F82B-8F64-C4C2-EDBEF0BBE92D}"/>
          </ac:spMkLst>
        </pc:spChg>
        <pc:spChg chg="mod">
          <ac:chgData name="Karkaba, Ali" userId="fa222b13-d879-44b1-af5a-d37867fdb466" providerId="ADAL" clId="{7A9EAFA0-FA7A-4AAB-AC4E-9783060BE0C4}" dt="2023-12-01T14:19:12.732" v="3149" actId="20577"/>
          <ac:spMkLst>
            <pc:docMk/>
            <pc:sldMk cId="875385177" sldId="407"/>
            <ac:spMk id="5" creationId="{ABD9D6AE-7AEF-6EE9-1361-DD48DD9B6B5C}"/>
          </ac:spMkLst>
        </pc:spChg>
        <pc:spChg chg="add mod">
          <ac:chgData name="Karkaba, Ali" userId="fa222b13-d879-44b1-af5a-d37867fdb466" providerId="ADAL" clId="{7A9EAFA0-FA7A-4AAB-AC4E-9783060BE0C4}" dt="2023-11-30T16:05:10.724" v="3115"/>
          <ac:spMkLst>
            <pc:docMk/>
            <pc:sldMk cId="875385177" sldId="407"/>
            <ac:spMk id="7" creationId="{DDFD389F-63DD-91E1-DC76-B7D491A9CF2B}"/>
          </ac:spMkLst>
        </pc:spChg>
        <pc:spChg chg="add del mod">
          <ac:chgData name="Karkaba, Ali" userId="fa222b13-d879-44b1-af5a-d37867fdb466" providerId="ADAL" clId="{7A9EAFA0-FA7A-4AAB-AC4E-9783060BE0C4}" dt="2023-11-24T19:37:53.810" v="1798" actId="478"/>
          <ac:spMkLst>
            <pc:docMk/>
            <pc:sldMk cId="875385177" sldId="407"/>
            <ac:spMk id="7" creationId="{F0583842-FF72-575A-1018-A6045C9DACB6}"/>
          </ac:spMkLst>
        </pc:spChg>
        <pc:spChg chg="mod">
          <ac:chgData name="Karkaba, Ali" userId="fa222b13-d879-44b1-af5a-d37867fdb466" providerId="ADAL" clId="{7A9EAFA0-FA7A-4AAB-AC4E-9783060BE0C4}" dt="2023-11-30T16:05:07.161" v="3114" actId="20577"/>
          <ac:spMkLst>
            <pc:docMk/>
            <pc:sldMk cId="875385177" sldId="407"/>
            <ac:spMk id="13" creationId="{8CB84F6A-DD51-D84C-3C24-D0F265C238E4}"/>
          </ac:spMkLst>
        </pc:spChg>
        <pc:spChg chg="add del mod">
          <ac:chgData name="Karkaba, Ali" userId="fa222b13-d879-44b1-af5a-d37867fdb466" providerId="ADAL" clId="{7A9EAFA0-FA7A-4AAB-AC4E-9783060BE0C4}" dt="2023-12-01T16:40:32.820" v="3432" actId="478"/>
          <ac:spMkLst>
            <pc:docMk/>
            <pc:sldMk cId="875385177" sldId="407"/>
            <ac:spMk id="15" creationId="{F168B8CE-CD84-7B8D-E662-47C5C02670BD}"/>
          </ac:spMkLst>
        </pc:spChg>
        <pc:graphicFrameChg chg="add mod modGraphic">
          <ac:chgData name="Karkaba, Ali" userId="fa222b13-d879-44b1-af5a-d37867fdb466" providerId="ADAL" clId="{7A9EAFA0-FA7A-4AAB-AC4E-9783060BE0C4}" dt="2023-12-04T09:09:52.470" v="3567" actId="20577"/>
          <ac:graphicFrameMkLst>
            <pc:docMk/>
            <pc:sldMk cId="875385177" sldId="407"/>
            <ac:graphicFrameMk id="2" creationId="{1421038F-4531-7F55-5248-C50D75253764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30T16:04:40.774" v="3084" actId="1076"/>
          <ac:graphicFrameMkLst>
            <pc:docMk/>
            <pc:sldMk cId="875385177" sldId="407"/>
            <ac:graphicFrameMk id="6" creationId="{0F80C75F-C63C-B443-5FEC-A16205D328F5}"/>
          </ac:graphicFrameMkLst>
        </pc:graphicFrameChg>
        <pc:graphicFrameChg chg="del">
          <ac:chgData name="Karkaba, Ali" userId="fa222b13-d879-44b1-af5a-d37867fdb466" providerId="ADAL" clId="{7A9EAFA0-FA7A-4AAB-AC4E-9783060BE0C4}" dt="2023-11-24T19:37:25.258" v="1788" actId="478"/>
          <ac:graphicFrameMkLst>
            <pc:docMk/>
            <pc:sldMk cId="875385177" sldId="407"/>
            <ac:graphicFrameMk id="8" creationId="{E456E338-D3C3-3CC2-F712-450792C52A86}"/>
          </ac:graphicFrameMkLst>
        </pc:graphicFrameChg>
        <pc:graphicFrameChg chg="add mod ord">
          <ac:chgData name="Karkaba, Ali" userId="fa222b13-d879-44b1-af5a-d37867fdb466" providerId="ADAL" clId="{7A9EAFA0-FA7A-4AAB-AC4E-9783060BE0C4}" dt="2023-11-24T19:38:27.715" v="1802" actId="167"/>
          <ac:graphicFrameMkLst>
            <pc:docMk/>
            <pc:sldMk cId="875385177" sldId="407"/>
            <ac:graphicFrameMk id="9" creationId="{8654B11A-71D3-7DED-9EAE-314DBB1012C9}"/>
          </ac:graphicFrameMkLst>
        </pc:graphicFrameChg>
        <pc:graphicFrameChg chg="modGraphic">
          <ac:chgData name="Karkaba, Ali" userId="fa222b13-d879-44b1-af5a-d37867fdb466" providerId="ADAL" clId="{7A9EAFA0-FA7A-4AAB-AC4E-9783060BE0C4}" dt="2023-11-30T15:58:31.464" v="3000" actId="20577"/>
          <ac:graphicFrameMkLst>
            <pc:docMk/>
            <pc:sldMk cId="875385177" sldId="407"/>
            <ac:graphicFrameMk id="14" creationId="{B192C66B-6C8D-03E7-8F5D-BF0391BE3E5B}"/>
          </ac:graphicFrameMkLst>
        </pc:graphicFrameChg>
        <pc:graphicFrameChg chg="mod">
          <ac:chgData name="Karkaba, Ali" userId="fa222b13-d879-44b1-af5a-d37867fdb466" providerId="ADAL" clId="{7A9EAFA0-FA7A-4AAB-AC4E-9783060BE0C4}" dt="2023-12-04T08:41:35.789" v="3436" actId="20577"/>
          <ac:graphicFrameMkLst>
            <pc:docMk/>
            <pc:sldMk cId="875385177" sldId="407"/>
            <ac:graphicFrameMk id="16" creationId="{616865F0-17F3-A8D7-DE88-63F200F42D21}"/>
          </ac:graphicFrameMkLst>
        </pc:graphicFrameChg>
        <pc:graphicFrameChg chg="del mod modGraphic">
          <ac:chgData name="Karkaba, Ali" userId="fa222b13-d879-44b1-af5a-d37867fdb466" providerId="ADAL" clId="{7A9EAFA0-FA7A-4AAB-AC4E-9783060BE0C4}" dt="2023-11-28T16:17:49.482" v="2100" actId="478"/>
          <ac:graphicFrameMkLst>
            <pc:docMk/>
            <pc:sldMk cId="875385177" sldId="407"/>
            <ac:graphicFrameMk id="17" creationId="{C594F7CA-195A-7D49-2183-583B2B0BC3BE}"/>
          </ac:graphicFrameMkLst>
        </pc:graphicFrameChg>
      </pc:sldChg>
      <pc:sldChg chg="new del">
        <pc:chgData name="Karkaba, Ali" userId="fa222b13-d879-44b1-af5a-d37867fdb466" providerId="ADAL" clId="{7A9EAFA0-FA7A-4AAB-AC4E-9783060BE0C4}" dt="2023-11-24T19:45:09.825" v="1809" actId="47"/>
        <pc:sldMkLst>
          <pc:docMk/>
          <pc:sldMk cId="3052476203" sldId="408"/>
        </pc:sldMkLst>
      </pc:sldChg>
      <pc:sldChg chg="delSp modSp add mod">
        <pc:chgData name="Karkaba, Ali" userId="fa222b13-d879-44b1-af5a-d37867fdb466" providerId="ADAL" clId="{7A9EAFA0-FA7A-4AAB-AC4E-9783060BE0C4}" dt="2023-11-28T16:17:21.543" v="2096" actId="13926"/>
        <pc:sldMkLst>
          <pc:docMk/>
          <pc:sldMk cId="2106664376" sldId="409"/>
        </pc:sldMkLst>
        <pc:spChg chg="mod">
          <ac:chgData name="Karkaba, Ali" userId="fa222b13-d879-44b1-af5a-d37867fdb466" providerId="ADAL" clId="{7A9EAFA0-FA7A-4AAB-AC4E-9783060BE0C4}" dt="2023-11-24T19:45:42.379" v="1874" actId="20577"/>
          <ac:spMkLst>
            <pc:docMk/>
            <pc:sldMk cId="2106664376" sldId="409"/>
            <ac:spMk id="3" creationId="{78390983-499F-4D08-BCEE-B585BFBEEC85}"/>
          </ac:spMkLst>
        </pc:spChg>
        <pc:graphicFrameChg chg="del">
          <ac:chgData name="Karkaba, Ali" userId="fa222b13-d879-44b1-af5a-d37867fdb466" providerId="ADAL" clId="{7A9EAFA0-FA7A-4AAB-AC4E-9783060BE0C4}" dt="2023-11-24T19:45:46.112" v="1875" actId="478"/>
          <ac:graphicFrameMkLst>
            <pc:docMk/>
            <pc:sldMk cId="2106664376" sldId="409"/>
            <ac:graphicFrameMk id="9" creationId="{8654B11A-71D3-7DED-9EAE-314DBB1012C9}"/>
          </ac:graphicFrameMkLst>
        </pc:graphicFrameChg>
        <pc:graphicFrameChg chg="modGraphic">
          <ac:chgData name="Karkaba, Ali" userId="fa222b13-d879-44b1-af5a-d37867fdb466" providerId="ADAL" clId="{7A9EAFA0-FA7A-4AAB-AC4E-9783060BE0C4}" dt="2023-11-28T16:17:21.543" v="2096" actId="13926"/>
          <ac:graphicFrameMkLst>
            <pc:docMk/>
            <pc:sldMk cId="2106664376" sldId="409"/>
            <ac:graphicFrameMk id="17" creationId="{C594F7CA-195A-7D49-2183-583B2B0BC3BE}"/>
          </ac:graphicFrameMkLst>
        </pc:graphicFrameChg>
      </pc:sldChg>
      <pc:sldChg chg="addSp delSp modSp mod">
        <pc:chgData name="Karkaba, Ali" userId="fa222b13-d879-44b1-af5a-d37867fdb466" providerId="ADAL" clId="{7A9EAFA0-FA7A-4AAB-AC4E-9783060BE0C4}" dt="2023-12-04T09:12:37.365" v="3602" actId="20577"/>
        <pc:sldMkLst>
          <pc:docMk/>
          <pc:sldMk cId="1898835580" sldId="412"/>
        </pc:sldMkLst>
        <pc:spChg chg="add mod">
          <ac:chgData name="Karkaba, Ali" userId="fa222b13-d879-44b1-af5a-d37867fdb466" providerId="ADAL" clId="{7A9EAFA0-FA7A-4AAB-AC4E-9783060BE0C4}" dt="2023-12-01T14:56:13.102" v="3150" actId="1076"/>
          <ac:spMkLst>
            <pc:docMk/>
            <pc:sldMk cId="1898835580" sldId="412"/>
            <ac:spMk id="2" creationId="{21C33110-BAFC-635F-1A1A-72B88595B8CC}"/>
          </ac:spMkLst>
        </pc:spChg>
        <pc:spChg chg="add del mod">
          <ac:chgData name="Karkaba, Ali" userId="fa222b13-d879-44b1-af5a-d37867fdb466" providerId="ADAL" clId="{7A9EAFA0-FA7A-4AAB-AC4E-9783060BE0C4}" dt="2023-12-01T16:40:36.044" v="3433" actId="478"/>
          <ac:spMkLst>
            <pc:docMk/>
            <pc:sldMk cId="1898835580" sldId="412"/>
            <ac:spMk id="6" creationId="{16156B96-8650-121C-82FA-2A7F2C49608F}"/>
          </ac:spMkLst>
        </pc:spChg>
        <pc:graphicFrameChg chg="add del mod">
          <ac:chgData name="Karkaba, Ali" userId="fa222b13-d879-44b1-af5a-d37867fdb466" providerId="ADAL" clId="{7A9EAFA0-FA7A-4AAB-AC4E-9783060BE0C4}" dt="2023-12-04T09:03:16.241" v="3466" actId="478"/>
          <ac:graphicFrameMkLst>
            <pc:docMk/>
            <pc:sldMk cId="1898835580" sldId="412"/>
            <ac:graphicFrameMk id="2" creationId="{F75FB6A0-CD1E-408F-B5F5-D3DDD06FA479}"/>
          </ac:graphicFrameMkLst>
        </pc:graphicFrameChg>
        <pc:graphicFrameChg chg="mod">
          <ac:chgData name="Karkaba, Ali" userId="fa222b13-d879-44b1-af5a-d37867fdb466" providerId="ADAL" clId="{7A9EAFA0-FA7A-4AAB-AC4E-9783060BE0C4}" dt="2023-12-04T09:12:37.365" v="3602" actId="20577"/>
          <ac:graphicFrameMkLst>
            <pc:docMk/>
            <pc:sldMk cId="1898835580" sldId="412"/>
            <ac:graphicFrameMk id="11" creationId="{F75FB6A0-CD1E-408F-B5F5-D3DDD06FA479}"/>
          </ac:graphicFrameMkLst>
        </pc:graphicFrameChg>
        <pc:graphicFrameChg chg="modGraphic">
          <ac:chgData name="Karkaba, Ali" userId="fa222b13-d879-44b1-af5a-d37867fdb466" providerId="ADAL" clId="{7A9EAFA0-FA7A-4AAB-AC4E-9783060BE0C4}" dt="2023-12-04T09:10:20.835" v="3572" actId="20577"/>
          <ac:graphicFrameMkLst>
            <pc:docMk/>
            <pc:sldMk cId="1898835580" sldId="412"/>
            <ac:graphicFrameMk id="12" creationId="{FF001CF4-DB34-BAD7-9196-470092AF1447}"/>
          </ac:graphicFrameMkLst>
        </pc:graphicFrameChg>
      </pc:sldChg>
    </pc:docChg>
  </pc:docChgLst>
  <pc:docChgLst>
    <pc:chgData name="Karkaba, Ali" userId="S::a.karkaba@gebhardt-group.com::fa222b13-d879-44b1-af5a-d37867fdb466" providerId="AD" clId="Web-{79F9E6C6-CDF8-434A-8D23-639009799BFF}"/>
    <pc:docChg chg="modSld sldOrd">
      <pc:chgData name="Karkaba, Ali" userId="S::a.karkaba@gebhardt-group.com::fa222b13-d879-44b1-af5a-d37867fdb466" providerId="AD" clId="Web-{79F9E6C6-CDF8-434A-8D23-639009799BFF}" dt="2023-11-20T11:07:09.395" v="32"/>
      <pc:docMkLst>
        <pc:docMk/>
      </pc:docMkLst>
      <pc:sldChg chg="ord">
        <pc:chgData name="Karkaba, Ali" userId="S::a.karkaba@gebhardt-group.com::fa222b13-d879-44b1-af5a-d37867fdb466" providerId="AD" clId="Web-{79F9E6C6-CDF8-434A-8D23-639009799BFF}" dt="2023-11-20T11:07:09.395" v="32"/>
        <pc:sldMkLst>
          <pc:docMk/>
          <pc:sldMk cId="2327630279" sldId="373"/>
        </pc:sldMkLst>
      </pc:sldChg>
      <pc:sldChg chg="delSp modSp">
        <pc:chgData name="Karkaba, Ali" userId="S::a.karkaba@gebhardt-group.com::fa222b13-d879-44b1-af5a-d37867fdb466" providerId="AD" clId="Web-{79F9E6C6-CDF8-434A-8D23-639009799BFF}" dt="2023-11-20T10:50:12.026" v="31"/>
        <pc:sldMkLst>
          <pc:docMk/>
          <pc:sldMk cId="1621961505" sldId="377"/>
        </pc:sldMkLst>
        <pc:spChg chg="mod">
          <ac:chgData name="Karkaba, Ali" userId="S::a.karkaba@gebhardt-group.com::fa222b13-d879-44b1-af5a-d37867fdb466" providerId="AD" clId="Web-{79F9E6C6-CDF8-434A-8D23-639009799BFF}" dt="2023-11-20T10:50:09.776" v="30" actId="20577"/>
          <ac:spMkLst>
            <pc:docMk/>
            <pc:sldMk cId="1621961505" sldId="377"/>
            <ac:spMk id="14" creationId="{2EB2CB67-4512-27AE-AC8D-1BE3521C1379}"/>
          </ac:spMkLst>
        </pc:spChg>
        <pc:spChg chg="del">
          <ac:chgData name="Karkaba, Ali" userId="S::a.karkaba@gebhardt-group.com::fa222b13-d879-44b1-af5a-d37867fdb466" providerId="AD" clId="Web-{79F9E6C6-CDF8-434A-8D23-639009799BFF}" dt="2023-11-20T10:50:12.026" v="31"/>
          <ac:spMkLst>
            <pc:docMk/>
            <pc:sldMk cId="1621961505" sldId="377"/>
            <ac:spMk id="15" creationId="{BB585163-AF63-4740-4A84-0B922C2CD725}"/>
          </ac:spMkLst>
        </pc:spChg>
      </pc:sldChg>
    </pc:docChg>
  </pc:docChgLst>
  <pc:docChgLst>
    <pc:chgData name="Karkaba, Ali" userId="S::a.karkaba@gebhardt-group.com::fa222b13-d879-44b1-af5a-d37867fdb466" providerId="AD" clId="Web-{4B3A0F81-F7EC-42B5-B17A-E2E670AB06CB}"/>
    <pc:docChg chg="modSld">
      <pc:chgData name="Karkaba, Ali" userId="S::a.karkaba@gebhardt-group.com::fa222b13-d879-44b1-af5a-d37867fdb466" providerId="AD" clId="Web-{4B3A0F81-F7EC-42B5-B17A-E2E670AB06CB}" dt="2023-11-06T10:06:09.848" v="21" actId="20577"/>
      <pc:docMkLst>
        <pc:docMk/>
      </pc:docMkLst>
      <pc:sldChg chg="modSp">
        <pc:chgData name="Karkaba, Ali" userId="S::a.karkaba@gebhardt-group.com::fa222b13-d879-44b1-af5a-d37867fdb466" providerId="AD" clId="Web-{4B3A0F81-F7EC-42B5-B17A-E2E670AB06CB}" dt="2023-11-06T10:06:09.848" v="21" actId="20577"/>
        <pc:sldMkLst>
          <pc:docMk/>
          <pc:sldMk cId="116212042" sldId="325"/>
        </pc:sldMkLst>
        <pc:spChg chg="mod">
          <ac:chgData name="Karkaba, Ali" userId="S::a.karkaba@gebhardt-group.com::fa222b13-d879-44b1-af5a-d37867fdb466" providerId="AD" clId="Web-{4B3A0F81-F7EC-42B5-B17A-E2E670AB06CB}" dt="2023-11-06T10:06:09.848" v="21" actId="20577"/>
          <ac:spMkLst>
            <pc:docMk/>
            <pc:sldMk cId="116212042" sldId="325"/>
            <ac:spMk id="6" creationId="{88DEB260-19E8-10DF-DA53-6025E3C864A7}"/>
          </ac:spMkLst>
        </pc:spChg>
      </pc:sldChg>
    </pc:docChg>
  </pc:docChgLst>
  <pc:docChgLst>
    <pc:chgData name="Zuber, Friederike" userId="c9ab0a74-ff6a-4998-bd4e-e791c23f92d2" providerId="ADAL" clId="{0B499B71-D06A-4D56-8338-B1E6CF579A88}"/>
    <pc:docChg chg="custSel modSld modMainMaster">
      <pc:chgData name="Zuber, Friederike" userId="c9ab0a74-ff6a-4998-bd4e-e791c23f92d2" providerId="ADAL" clId="{0B499B71-D06A-4D56-8338-B1E6CF579A88}" dt="2023-07-31T09:59:18.993" v="314" actId="14826"/>
      <pc:docMkLst>
        <pc:docMk/>
      </pc:docMkLst>
      <pc:sldChg chg="addSp delSp modSp mod">
        <pc:chgData name="Zuber, Friederike" userId="c9ab0a74-ff6a-4998-bd4e-e791c23f92d2" providerId="ADAL" clId="{0B499B71-D06A-4D56-8338-B1E6CF579A88}" dt="2023-07-31T09:59:18.993" v="314" actId="14826"/>
        <pc:sldMkLst>
          <pc:docMk/>
          <pc:sldMk cId="2987485418" sldId="280"/>
        </pc:sldMkLst>
        <pc:spChg chg="mod">
          <ac:chgData name="Zuber, Friederike" userId="c9ab0a74-ff6a-4998-bd4e-e791c23f92d2" providerId="ADAL" clId="{0B499B71-D06A-4D56-8338-B1E6CF579A88}" dt="2023-07-31T09:55:28.276" v="210" actId="20577"/>
          <ac:spMkLst>
            <pc:docMk/>
            <pc:sldMk cId="2987485418" sldId="280"/>
            <ac:spMk id="9" creationId="{0647CF81-3D8B-709F-60CC-A44D594F7790}"/>
          </ac:spMkLst>
        </pc:spChg>
        <pc:spChg chg="mod">
          <ac:chgData name="Zuber, Friederike" userId="c9ab0a74-ff6a-4998-bd4e-e791c23f92d2" providerId="ADAL" clId="{0B499B71-D06A-4D56-8338-B1E6CF579A88}" dt="2023-07-31T09:57:15.380" v="248" actId="108"/>
          <ac:spMkLst>
            <pc:docMk/>
            <pc:sldMk cId="2987485418" sldId="280"/>
            <ac:spMk id="21" creationId="{B1F2F1C7-F6A2-4EF3-BC7F-B6C47525243C}"/>
          </ac:spMkLst>
        </pc:spChg>
        <pc:picChg chg="mod">
          <ac:chgData name="Zuber, Friederike" userId="c9ab0a74-ff6a-4998-bd4e-e791c23f92d2" providerId="ADAL" clId="{0B499B71-D06A-4D56-8338-B1E6CF579A88}" dt="2023-07-31T09:59:18.993" v="314" actId="14826"/>
          <ac:picMkLst>
            <pc:docMk/>
            <pc:sldMk cId="2987485418" sldId="280"/>
            <ac:picMk id="5" creationId="{9739458D-4766-9D22-DE77-F94317FBCA47}"/>
          </ac:picMkLst>
        </pc:picChg>
        <pc:picChg chg="add del mod">
          <ac:chgData name="Zuber, Friederike" userId="c9ab0a74-ff6a-4998-bd4e-e791c23f92d2" providerId="ADAL" clId="{0B499B71-D06A-4D56-8338-B1E6CF579A88}" dt="2023-07-31T09:55:55.156" v="246"/>
          <ac:picMkLst>
            <pc:docMk/>
            <pc:sldMk cId="2987485418" sldId="280"/>
            <ac:picMk id="1026" creationId="{9D67E4D9-51AC-CFE1-5A24-67C6DA4503D0}"/>
          </ac:picMkLst>
        </pc:picChg>
      </pc:sldChg>
      <pc:sldChg chg="modSp mod replTag">
        <pc:chgData name="Zuber, Friederike" userId="c9ab0a74-ff6a-4998-bd4e-e791c23f92d2" providerId="ADAL" clId="{0B499B71-D06A-4D56-8338-B1E6CF579A88}" dt="2023-07-11T10:10:07.782" v="68"/>
        <pc:sldMkLst>
          <pc:docMk/>
          <pc:sldMk cId="2159917258" sldId="287"/>
        </pc:sldMkLst>
        <pc:spChg chg="mod">
          <ac:chgData name="Zuber, Friederike" userId="c9ab0a74-ff6a-4998-bd4e-e791c23f92d2" providerId="ADAL" clId="{0B499B71-D06A-4D56-8338-B1E6CF579A88}" dt="2023-07-11T10:09:27.867" v="35" actId="20577"/>
          <ac:spMkLst>
            <pc:docMk/>
            <pc:sldMk cId="2159917258" sldId="287"/>
            <ac:spMk id="2" creationId="{2933746C-02C3-E792-2E02-BE8CD794A978}"/>
          </ac:spMkLst>
        </pc:spChg>
      </pc:sldChg>
      <pc:sldChg chg="addSp delSp modSp mod">
        <pc:chgData name="Zuber, Friederike" userId="c9ab0a74-ff6a-4998-bd4e-e791c23f92d2" providerId="ADAL" clId="{0B499B71-D06A-4D56-8338-B1E6CF579A88}" dt="2023-07-18T09:43:57.527" v="176" actId="1076"/>
        <pc:sldMkLst>
          <pc:docMk/>
          <pc:sldMk cId="2461961411" sldId="288"/>
        </pc:sldMkLst>
        <pc:picChg chg="del">
          <ac:chgData name="Zuber, Friederike" userId="c9ab0a74-ff6a-4998-bd4e-e791c23f92d2" providerId="ADAL" clId="{0B499B71-D06A-4D56-8338-B1E6CF579A88}" dt="2023-07-18T09:43:12.182" v="69" actId="478"/>
          <ac:picMkLst>
            <pc:docMk/>
            <pc:sldMk cId="2461961411" sldId="288"/>
            <ac:picMk id="5" creationId="{36E3A8B0-2E53-A469-DEC6-89AE3C22F047}"/>
          </ac:picMkLst>
        </pc:picChg>
        <pc:picChg chg="add mod modCrop">
          <ac:chgData name="Zuber, Friederike" userId="c9ab0a74-ff6a-4998-bd4e-e791c23f92d2" providerId="ADAL" clId="{0B499B71-D06A-4D56-8338-B1E6CF579A88}" dt="2023-07-18T09:43:57.527" v="176" actId="1076"/>
          <ac:picMkLst>
            <pc:docMk/>
            <pc:sldMk cId="2461961411" sldId="288"/>
            <ac:picMk id="6" creationId="{015A3824-D117-1ECC-430C-D0CE24841107}"/>
          </ac:picMkLst>
        </pc:picChg>
      </pc:sldChg>
      <pc:sldMasterChg chg="modSp mod">
        <pc:chgData name="Zuber, Friederike" userId="c9ab0a74-ff6a-4998-bd4e-e791c23f92d2" providerId="ADAL" clId="{0B499B71-D06A-4D56-8338-B1E6CF579A88}" dt="2023-07-31T09:58:24.134" v="313" actId="20577"/>
        <pc:sldMasterMkLst>
          <pc:docMk/>
          <pc:sldMasterMk cId="3579731039" sldId="2147483648"/>
        </pc:sldMasterMkLst>
        <pc:spChg chg="mod">
          <ac:chgData name="Zuber, Friederike" userId="c9ab0a74-ff6a-4998-bd4e-e791c23f92d2" providerId="ADAL" clId="{0B499B71-D06A-4D56-8338-B1E6CF579A88}" dt="2023-07-31T09:58:24.095" v="289" actId="20577"/>
          <ac:spMkLst>
            <pc:docMk/>
            <pc:sldMasterMk cId="3579731039" sldId="2147483648"/>
            <ac:spMk id="5" creationId="{ECC80EA2-B126-406A-A4EA-C5EE0B8CAE7E}"/>
          </ac:spMkLst>
        </pc:spChg>
        <pc:spChg chg="mod">
          <ac:chgData name="Zuber, Friederike" userId="c9ab0a74-ff6a-4998-bd4e-e791c23f92d2" providerId="ADAL" clId="{0B499B71-D06A-4D56-8338-B1E6CF579A88}" dt="2023-07-31T09:58:24.121" v="305" actId="20577"/>
          <ac:spMkLst>
            <pc:docMk/>
            <pc:sldMasterMk cId="3579731039" sldId="2147483648"/>
            <ac:spMk id="7" creationId="{31110460-EA35-4541-A967-4AE9DF20115B}"/>
          </ac:spMkLst>
        </pc:spChg>
        <pc:spChg chg="mod">
          <ac:chgData name="Zuber, Friederike" userId="c9ab0a74-ff6a-4998-bd4e-e791c23f92d2" providerId="ADAL" clId="{0B499B71-D06A-4D56-8338-B1E6CF579A88}" dt="2023-07-31T09:58:24.108" v="297" actId="20577"/>
          <ac:spMkLst>
            <pc:docMk/>
            <pc:sldMasterMk cId="3579731039" sldId="2147483648"/>
            <ac:spMk id="9" creationId="{E9C5B7F4-3B5F-4CA7-9DAA-F99BA5AA8E3A}"/>
          </ac:spMkLst>
        </pc:spChg>
        <pc:spChg chg="mod">
          <ac:chgData name="Zuber, Friederike" userId="c9ab0a74-ff6a-4998-bd4e-e791c23f92d2" providerId="ADAL" clId="{0B499B71-D06A-4D56-8338-B1E6CF579A88}" dt="2023-07-31T09:58:24.134" v="313" actId="20577"/>
          <ac:spMkLst>
            <pc:docMk/>
            <pc:sldMasterMk cId="3579731039" sldId="2147483648"/>
            <ac:spMk id="14" creationId="{6AACB852-6195-4E25-BA98-BC1ABB9ADF35}"/>
          </ac:spMkLst>
        </pc:spChg>
      </pc:sldMasterChg>
    </pc:docChg>
  </pc:docChgLst>
  <pc:docChgLst>
    <pc:chgData name="Ischanka, Eugen" userId="e4e12248-2210-4459-89e3-acb2dd10c338" providerId="ADAL" clId="{33694F81-A8DD-4423-B208-B2D081542875}"/>
    <pc:docChg chg="undo custSel addSld delSld modSld">
      <pc:chgData name="Ischanka, Eugen" userId="e4e12248-2210-4459-89e3-acb2dd10c338" providerId="ADAL" clId="{33694F81-A8DD-4423-B208-B2D081542875}" dt="2023-10-25T13:14:55.498" v="2440" actId="1076"/>
      <pc:docMkLst>
        <pc:docMk/>
      </pc:docMkLst>
      <pc:sldChg chg="delSp mod">
        <pc:chgData name="Ischanka, Eugen" userId="e4e12248-2210-4459-89e3-acb2dd10c338" providerId="ADAL" clId="{33694F81-A8DD-4423-B208-B2D081542875}" dt="2023-10-19T06:11:00.593" v="0" actId="478"/>
        <pc:sldMkLst>
          <pc:docMk/>
          <pc:sldMk cId="1140176684" sldId="291"/>
        </pc:sldMkLst>
        <pc:spChg chg="del">
          <ac:chgData name="Ischanka, Eugen" userId="e4e12248-2210-4459-89e3-acb2dd10c338" providerId="ADAL" clId="{33694F81-A8DD-4423-B208-B2D081542875}" dt="2023-10-19T06:11:00.593" v="0" actId="478"/>
          <ac:spMkLst>
            <pc:docMk/>
            <pc:sldMk cId="1140176684" sldId="291"/>
            <ac:spMk id="5" creationId="{59819B5E-3049-3612-5C0E-1D8BBF4DF3F1}"/>
          </ac:spMkLst>
        </pc:spChg>
      </pc:sldChg>
      <pc:sldChg chg="delSp modSp mod">
        <pc:chgData name="Ischanka, Eugen" userId="e4e12248-2210-4459-89e3-acb2dd10c338" providerId="ADAL" clId="{33694F81-A8DD-4423-B208-B2D081542875}" dt="2023-10-19T06:22:46.885" v="142" actId="5793"/>
        <pc:sldMkLst>
          <pc:docMk/>
          <pc:sldMk cId="4174494589" sldId="294"/>
        </pc:sldMkLst>
        <pc:spChg chg="del">
          <ac:chgData name="Ischanka, Eugen" userId="e4e12248-2210-4459-89e3-acb2dd10c338" providerId="ADAL" clId="{33694F81-A8DD-4423-B208-B2D081542875}" dt="2023-10-19T06:17:05.637" v="101" actId="478"/>
          <ac:spMkLst>
            <pc:docMk/>
            <pc:sldMk cId="4174494589" sldId="294"/>
            <ac:spMk id="5" creationId="{1ADDF932-0C90-A023-4A7B-88E7EF7EC3F2}"/>
          </ac:spMkLst>
        </pc:spChg>
        <pc:spChg chg="del">
          <ac:chgData name="Ischanka, Eugen" userId="e4e12248-2210-4459-89e3-acb2dd10c338" providerId="ADAL" clId="{33694F81-A8DD-4423-B208-B2D081542875}" dt="2023-10-19T06:17:06.968" v="102" actId="478"/>
          <ac:spMkLst>
            <pc:docMk/>
            <pc:sldMk cId="4174494589" sldId="294"/>
            <ac:spMk id="7" creationId="{3190920B-1C7B-7342-F9AD-22605E87D762}"/>
          </ac:spMkLst>
        </pc:spChg>
        <pc:spChg chg="mod">
          <ac:chgData name="Ischanka, Eugen" userId="e4e12248-2210-4459-89e3-acb2dd10c338" providerId="ADAL" clId="{33694F81-A8DD-4423-B208-B2D081542875}" dt="2023-10-19T06:22:46.885" v="142" actId="5793"/>
          <ac:spMkLst>
            <pc:docMk/>
            <pc:sldMk cId="4174494589" sldId="294"/>
            <ac:spMk id="29" creationId="{CF590A2F-29FF-4A23-BE3D-107D2FC60613}"/>
          </ac:spMkLst>
        </pc:spChg>
      </pc:sldChg>
      <pc:sldChg chg="delSp mod">
        <pc:chgData name="Ischanka, Eugen" userId="e4e12248-2210-4459-89e3-acb2dd10c338" providerId="ADAL" clId="{33694F81-A8DD-4423-B208-B2D081542875}" dt="2023-10-19T06:16:56.084" v="100" actId="478"/>
        <pc:sldMkLst>
          <pc:docMk/>
          <pc:sldMk cId="2083003646" sldId="297"/>
        </pc:sldMkLst>
        <pc:spChg chg="del">
          <ac:chgData name="Ischanka, Eugen" userId="e4e12248-2210-4459-89e3-acb2dd10c338" providerId="ADAL" clId="{33694F81-A8DD-4423-B208-B2D081542875}" dt="2023-10-19T06:16:54.726" v="99" actId="478"/>
          <ac:spMkLst>
            <pc:docMk/>
            <pc:sldMk cId="2083003646" sldId="297"/>
            <ac:spMk id="17" creationId="{BB4CD7A6-37B2-4062-5414-4C4B34609BC4}"/>
          </ac:spMkLst>
        </pc:spChg>
        <pc:spChg chg="del">
          <ac:chgData name="Ischanka, Eugen" userId="e4e12248-2210-4459-89e3-acb2dd10c338" providerId="ADAL" clId="{33694F81-A8DD-4423-B208-B2D081542875}" dt="2023-10-19T06:16:56.084" v="100" actId="478"/>
          <ac:spMkLst>
            <pc:docMk/>
            <pc:sldMk cId="2083003646" sldId="297"/>
            <ac:spMk id="19" creationId="{1D82A695-B7A5-1B16-70FB-C5834852EE2B}"/>
          </ac:spMkLst>
        </pc:spChg>
      </pc:sldChg>
      <pc:sldChg chg="delSp modSp mod">
        <pc:chgData name="Ischanka, Eugen" userId="e4e12248-2210-4459-89e3-acb2dd10c338" providerId="ADAL" clId="{33694F81-A8DD-4423-B208-B2D081542875}" dt="2023-10-19T06:27:28.928" v="246" actId="478"/>
        <pc:sldMkLst>
          <pc:docMk/>
          <pc:sldMk cId="1799543034" sldId="299"/>
        </pc:sldMkLst>
        <pc:spChg chg="del">
          <ac:chgData name="Ischanka, Eugen" userId="e4e12248-2210-4459-89e3-acb2dd10c338" providerId="ADAL" clId="{33694F81-A8DD-4423-B208-B2D081542875}" dt="2023-10-19T06:27:28.928" v="246" actId="478"/>
          <ac:spMkLst>
            <pc:docMk/>
            <pc:sldMk cId="1799543034" sldId="299"/>
            <ac:spMk id="5" creationId="{9AD47E5E-D272-68B6-41A3-23AFF9EE70D0}"/>
          </ac:spMkLst>
        </pc:spChg>
        <pc:spChg chg="mod">
          <ac:chgData name="Ischanka, Eugen" userId="e4e12248-2210-4459-89e3-acb2dd10c338" providerId="ADAL" clId="{33694F81-A8DD-4423-B208-B2D081542875}" dt="2023-10-19T06:27:23.639" v="244" actId="400"/>
          <ac:spMkLst>
            <pc:docMk/>
            <pc:sldMk cId="1799543034" sldId="299"/>
            <ac:spMk id="29" creationId="{CF590A2F-29FF-4A23-BE3D-107D2FC60613}"/>
          </ac:spMkLst>
        </pc:spChg>
        <pc:picChg chg="del">
          <ac:chgData name="Ischanka, Eugen" userId="e4e12248-2210-4459-89e3-acb2dd10c338" providerId="ADAL" clId="{33694F81-A8DD-4423-B208-B2D081542875}" dt="2023-10-19T06:27:28.135" v="245" actId="478"/>
          <ac:picMkLst>
            <pc:docMk/>
            <pc:sldMk cId="1799543034" sldId="299"/>
            <ac:picMk id="8" creationId="{C69E6ECF-F6CE-ED63-5DFC-785200E48D2B}"/>
          </ac:picMkLst>
        </pc:picChg>
      </pc:sldChg>
      <pc:sldChg chg="addSp modSp mod">
        <pc:chgData name="Ischanka, Eugen" userId="e4e12248-2210-4459-89e3-acb2dd10c338" providerId="ADAL" clId="{33694F81-A8DD-4423-B208-B2D081542875}" dt="2023-10-19T06:29:02.218" v="262" actId="1076"/>
        <pc:sldMkLst>
          <pc:docMk/>
          <pc:sldMk cId="3986798096" sldId="300"/>
        </pc:sldMkLst>
        <pc:spChg chg="add mod">
          <ac:chgData name="Ischanka, Eugen" userId="e4e12248-2210-4459-89e3-acb2dd10c338" providerId="ADAL" clId="{33694F81-A8DD-4423-B208-B2D081542875}" dt="2023-10-19T06:29:02.218" v="262" actId="1076"/>
          <ac:spMkLst>
            <pc:docMk/>
            <pc:sldMk cId="3986798096" sldId="300"/>
            <ac:spMk id="5" creationId="{95989180-85A1-E9DD-D6C9-B3BCAFAF8E0B}"/>
          </ac:spMkLst>
        </pc:spChg>
        <pc:spChg chg="add mod">
          <ac:chgData name="Ischanka, Eugen" userId="e4e12248-2210-4459-89e3-acb2dd10c338" providerId="ADAL" clId="{33694F81-A8DD-4423-B208-B2D081542875}" dt="2023-10-19T06:28:36.514" v="256" actId="1076"/>
          <ac:spMkLst>
            <pc:docMk/>
            <pc:sldMk cId="3986798096" sldId="300"/>
            <ac:spMk id="7" creationId="{1F09AA96-F8E1-5B39-628E-8DB3D3A4209E}"/>
          </ac:spMkLst>
        </pc:spChg>
        <pc:spChg chg="add mod">
          <ac:chgData name="Ischanka, Eugen" userId="e4e12248-2210-4459-89e3-acb2dd10c338" providerId="ADAL" clId="{33694F81-A8DD-4423-B208-B2D081542875}" dt="2023-10-19T06:28:37.990" v="257"/>
          <ac:spMkLst>
            <pc:docMk/>
            <pc:sldMk cId="3986798096" sldId="300"/>
            <ac:spMk id="8" creationId="{D7081792-5609-18E7-0BE1-AE1BE9ECC29F}"/>
          </ac:spMkLst>
        </pc:spChg>
      </pc:sldChg>
      <pc:sldChg chg="modSp mod">
        <pc:chgData name="Ischanka, Eugen" userId="e4e12248-2210-4459-89e3-acb2dd10c338" providerId="ADAL" clId="{33694F81-A8DD-4423-B208-B2D081542875}" dt="2023-10-19T06:29:58.993" v="266" actId="400"/>
        <pc:sldMkLst>
          <pc:docMk/>
          <pc:sldMk cId="238135665" sldId="301"/>
        </pc:sldMkLst>
        <pc:spChg chg="mod">
          <ac:chgData name="Ischanka, Eugen" userId="e4e12248-2210-4459-89e3-acb2dd10c338" providerId="ADAL" clId="{33694F81-A8DD-4423-B208-B2D081542875}" dt="2023-10-19T06:29:58.993" v="266" actId="400"/>
          <ac:spMkLst>
            <pc:docMk/>
            <pc:sldMk cId="238135665" sldId="301"/>
            <ac:spMk id="29" creationId="{CF590A2F-29FF-4A23-BE3D-107D2FC60613}"/>
          </ac:spMkLst>
        </pc:spChg>
      </pc:sldChg>
      <pc:sldChg chg="addSp modSp mod">
        <pc:chgData name="Ischanka, Eugen" userId="e4e12248-2210-4459-89e3-acb2dd10c338" providerId="ADAL" clId="{33694F81-A8DD-4423-B208-B2D081542875}" dt="2023-10-19T06:33:19.052" v="349" actId="400"/>
        <pc:sldMkLst>
          <pc:docMk/>
          <pc:sldMk cId="535292970" sldId="302"/>
        </pc:sldMkLst>
        <pc:spChg chg="add mod">
          <ac:chgData name="Ischanka, Eugen" userId="e4e12248-2210-4459-89e3-acb2dd10c338" providerId="ADAL" clId="{33694F81-A8DD-4423-B208-B2D081542875}" dt="2023-10-19T06:31:59.899" v="342" actId="2085"/>
          <ac:spMkLst>
            <pc:docMk/>
            <pc:sldMk cId="535292970" sldId="302"/>
            <ac:spMk id="5" creationId="{ACA392AF-8F5F-C1BD-A981-C157A7B4CBBF}"/>
          </ac:spMkLst>
        </pc:spChg>
        <pc:spChg chg="mod">
          <ac:chgData name="Ischanka, Eugen" userId="e4e12248-2210-4459-89e3-acb2dd10c338" providerId="ADAL" clId="{33694F81-A8DD-4423-B208-B2D081542875}" dt="2023-10-19T06:33:19.052" v="349" actId="400"/>
          <ac:spMkLst>
            <pc:docMk/>
            <pc:sldMk cId="535292970" sldId="302"/>
            <ac:spMk id="29" creationId="{CF590A2F-29FF-4A23-BE3D-107D2FC60613}"/>
          </ac:spMkLst>
        </pc:spChg>
      </pc:sldChg>
      <pc:sldChg chg="addSp delSp modSp mod">
        <pc:chgData name="Ischanka, Eugen" userId="e4e12248-2210-4459-89e3-acb2dd10c338" providerId="ADAL" clId="{33694F81-A8DD-4423-B208-B2D081542875}" dt="2023-10-19T06:56:32.723" v="569" actId="478"/>
        <pc:sldMkLst>
          <pc:docMk/>
          <pc:sldMk cId="2711317261" sldId="303"/>
        </pc:sldMkLst>
        <pc:spChg chg="add mod">
          <ac:chgData name="Ischanka, Eugen" userId="e4e12248-2210-4459-89e3-acb2dd10c338" providerId="ADAL" clId="{33694F81-A8DD-4423-B208-B2D081542875}" dt="2023-10-19T06:39:06.523" v="568" actId="1076"/>
          <ac:spMkLst>
            <pc:docMk/>
            <pc:sldMk cId="2711317261" sldId="303"/>
            <ac:spMk id="5" creationId="{D7F12847-C3AF-D276-96BD-66E0457C2CDB}"/>
          </ac:spMkLst>
        </pc:spChg>
        <pc:spChg chg="del">
          <ac:chgData name="Ischanka, Eugen" userId="e4e12248-2210-4459-89e3-acb2dd10c338" providerId="ADAL" clId="{33694F81-A8DD-4423-B208-B2D081542875}" dt="2023-10-19T06:56:32.723" v="569" actId="478"/>
          <ac:spMkLst>
            <pc:docMk/>
            <pc:sldMk cId="2711317261" sldId="303"/>
            <ac:spMk id="8" creationId="{C828DD87-CC9F-9712-63AE-4AEE50069296}"/>
          </ac:spMkLst>
        </pc:spChg>
      </pc:sldChg>
      <pc:sldChg chg="addSp modSp mod">
        <pc:chgData name="Ischanka, Eugen" userId="e4e12248-2210-4459-89e3-acb2dd10c338" providerId="ADAL" clId="{33694F81-A8DD-4423-B208-B2D081542875}" dt="2023-10-19T06:34:22.738" v="351" actId="1076"/>
        <pc:sldMkLst>
          <pc:docMk/>
          <pc:sldMk cId="3893680440" sldId="304"/>
        </pc:sldMkLst>
        <pc:spChg chg="add mod">
          <ac:chgData name="Ischanka, Eugen" userId="e4e12248-2210-4459-89e3-acb2dd10c338" providerId="ADAL" clId="{33694F81-A8DD-4423-B208-B2D081542875}" dt="2023-10-19T06:34:22.738" v="351" actId="1076"/>
          <ac:spMkLst>
            <pc:docMk/>
            <pc:sldMk cId="3893680440" sldId="304"/>
            <ac:spMk id="5" creationId="{0B7189C4-BA28-C122-A72A-EFB0085B54E1}"/>
          </ac:spMkLst>
        </pc:spChg>
      </pc:sldChg>
      <pc:sldChg chg="modSp mod">
        <pc:chgData name="Ischanka, Eugen" userId="e4e12248-2210-4459-89e3-acb2dd10c338" providerId="ADAL" clId="{33694F81-A8DD-4423-B208-B2D081542875}" dt="2023-10-23T11:49:44.857" v="2170" actId="27107"/>
        <pc:sldMkLst>
          <pc:docMk/>
          <pc:sldMk cId="591752906" sldId="305"/>
        </pc:sldMkLst>
        <pc:spChg chg="mod">
          <ac:chgData name="Ischanka, Eugen" userId="e4e12248-2210-4459-89e3-acb2dd10c338" providerId="ADAL" clId="{33694F81-A8DD-4423-B208-B2D081542875}" dt="2023-10-23T11:49:44.857" v="2170" actId="27107"/>
          <ac:spMkLst>
            <pc:docMk/>
            <pc:sldMk cId="591752906" sldId="305"/>
            <ac:spMk id="11" creationId="{4997980C-EDF4-6993-0214-7F325C9B36DC}"/>
          </ac:spMkLst>
        </pc:spChg>
      </pc:sldChg>
      <pc:sldChg chg="addSp delSp modSp new mod modClrScheme chgLayout">
        <pc:chgData name="Ischanka, Eugen" userId="e4e12248-2210-4459-89e3-acb2dd10c338" providerId="ADAL" clId="{33694F81-A8DD-4423-B208-B2D081542875}" dt="2023-10-19T06:59:32.112" v="755" actId="700"/>
        <pc:sldMkLst>
          <pc:docMk/>
          <pc:sldMk cId="3200656267" sldId="306"/>
        </pc:sldMkLst>
        <pc:spChg chg="del mod">
          <ac:chgData name="Ischanka, Eugen" userId="e4e12248-2210-4459-89e3-acb2dd10c338" providerId="ADAL" clId="{33694F81-A8DD-4423-B208-B2D081542875}" dt="2023-10-19T06:57:05.446" v="575" actId="700"/>
          <ac:spMkLst>
            <pc:docMk/>
            <pc:sldMk cId="3200656267" sldId="306"/>
            <ac:spMk id="2" creationId="{CDD2156B-56D9-B70C-ADF9-DFAAD14CF9CB}"/>
          </ac:spMkLst>
        </pc:spChg>
        <pc:spChg chg="del mod ord">
          <ac:chgData name="Ischanka, Eugen" userId="e4e12248-2210-4459-89e3-acb2dd10c338" providerId="ADAL" clId="{33694F81-A8DD-4423-B208-B2D081542875}" dt="2023-10-19T06:57:05.446" v="575" actId="700"/>
          <ac:spMkLst>
            <pc:docMk/>
            <pc:sldMk cId="3200656267" sldId="306"/>
            <ac:spMk id="3" creationId="{4E251E02-C12C-F5F2-013E-E9568A799465}"/>
          </ac:spMkLst>
        </pc:spChg>
        <pc:spChg chg="add mod ord">
          <ac:chgData name="Ischanka, Eugen" userId="e4e12248-2210-4459-89e3-acb2dd10c338" providerId="ADAL" clId="{33694F81-A8DD-4423-B208-B2D081542875}" dt="2023-10-19T06:59:32.112" v="755" actId="700"/>
          <ac:spMkLst>
            <pc:docMk/>
            <pc:sldMk cId="3200656267" sldId="306"/>
            <ac:spMk id="4" creationId="{5926353C-B798-0EC2-B990-B8EECEBC782F}"/>
          </ac:spMkLst>
        </pc:spChg>
        <pc:spChg chg="add del mod ord">
          <ac:chgData name="Ischanka, Eugen" userId="e4e12248-2210-4459-89e3-acb2dd10c338" providerId="ADAL" clId="{33694F81-A8DD-4423-B208-B2D081542875}" dt="2023-10-19T06:59:32.112" v="755" actId="700"/>
          <ac:spMkLst>
            <pc:docMk/>
            <pc:sldMk cId="3200656267" sldId="306"/>
            <ac:spMk id="5" creationId="{30A35642-A07C-1FB0-9C94-70C749DBC51A}"/>
          </ac:spMkLst>
        </pc:spChg>
        <pc:spChg chg="add del mod ord">
          <ac:chgData name="Ischanka, Eugen" userId="e4e12248-2210-4459-89e3-acb2dd10c338" providerId="ADAL" clId="{33694F81-A8DD-4423-B208-B2D081542875}" dt="2023-10-19T06:59:32.112" v="755" actId="700"/>
          <ac:spMkLst>
            <pc:docMk/>
            <pc:sldMk cId="3200656267" sldId="306"/>
            <ac:spMk id="6" creationId="{8732CD8F-7C17-8322-695A-0B914848C1E9}"/>
          </ac:spMkLst>
        </pc:spChg>
      </pc:sldChg>
      <pc:sldChg chg="del">
        <pc:chgData name="Ischanka, Eugen" userId="e4e12248-2210-4459-89e3-acb2dd10c338" providerId="ADAL" clId="{33694F81-A8DD-4423-B208-B2D081542875}" dt="2023-10-19T06:36:17.998" v="352" actId="47"/>
        <pc:sldMkLst>
          <pc:docMk/>
          <pc:sldMk cId="4161454125" sldId="306"/>
        </pc:sldMkLst>
      </pc:sldChg>
      <pc:sldChg chg="addSp delSp modSp new mod">
        <pc:chgData name="Ischanka, Eugen" userId="e4e12248-2210-4459-89e3-acb2dd10c338" providerId="ADAL" clId="{33694F81-A8DD-4423-B208-B2D081542875}" dt="2023-10-25T13:10:44.421" v="2174" actId="478"/>
        <pc:sldMkLst>
          <pc:docMk/>
          <pc:sldMk cId="2839034917" sldId="307"/>
        </pc:sldMkLst>
        <pc:spChg chg="mod">
          <ac:chgData name="Ischanka, Eugen" userId="e4e12248-2210-4459-89e3-acb2dd10c338" providerId="ADAL" clId="{33694F81-A8DD-4423-B208-B2D081542875}" dt="2023-10-19T09:41:01.946" v="783" actId="20577"/>
          <ac:spMkLst>
            <pc:docMk/>
            <pc:sldMk cId="2839034917" sldId="307"/>
            <ac:spMk id="2" creationId="{5CE718C8-EE26-719B-23EB-D357305ABFA5}"/>
          </ac:spMkLst>
        </pc:spChg>
        <pc:spChg chg="mod">
          <ac:chgData name="Ischanka, Eugen" userId="e4e12248-2210-4459-89e3-acb2dd10c338" providerId="ADAL" clId="{33694F81-A8DD-4423-B208-B2D081542875}" dt="2023-10-19T06:58:57.419" v="736" actId="20577"/>
          <ac:spMkLst>
            <pc:docMk/>
            <pc:sldMk cId="2839034917" sldId="307"/>
            <ac:spMk id="3" creationId="{12B1D444-91F6-8666-BA3B-295515848E82}"/>
          </ac:spMkLst>
        </pc:spChg>
        <pc:spChg chg="add del">
          <ac:chgData name="Ischanka, Eugen" userId="e4e12248-2210-4459-89e3-acb2dd10c338" providerId="ADAL" clId="{33694F81-A8DD-4423-B208-B2D081542875}" dt="2023-10-19T09:46:14.931" v="794" actId="478"/>
          <ac:spMkLst>
            <pc:docMk/>
            <pc:sldMk cId="2839034917" sldId="307"/>
            <ac:spMk id="8" creationId="{295ECCB8-C07B-713F-E1E0-5A139042346E}"/>
          </ac:spMkLst>
        </pc:spChg>
        <pc:spChg chg="add mod">
          <ac:chgData name="Ischanka, Eugen" userId="e4e12248-2210-4459-89e3-acb2dd10c338" providerId="ADAL" clId="{33694F81-A8DD-4423-B208-B2D081542875}" dt="2023-10-19T09:47:00.168" v="821" actId="2085"/>
          <ac:spMkLst>
            <pc:docMk/>
            <pc:sldMk cId="2839034917" sldId="307"/>
            <ac:spMk id="9" creationId="{7B1F37E9-6FE7-D004-7176-F9A5AF25E82C}"/>
          </ac:spMkLst>
        </pc:spChg>
        <pc:spChg chg="add mod">
          <ac:chgData name="Ischanka, Eugen" userId="e4e12248-2210-4459-89e3-acb2dd10c338" providerId="ADAL" clId="{33694F81-A8DD-4423-B208-B2D081542875}" dt="2023-10-19T11:02:15.521" v="1266" actId="20577"/>
          <ac:spMkLst>
            <pc:docMk/>
            <pc:sldMk cId="2839034917" sldId="307"/>
            <ac:spMk id="10" creationId="{4CAE0FF1-2DCB-8740-F17F-78CBD2103003}"/>
          </ac:spMkLst>
        </pc:spChg>
        <pc:spChg chg="add mod">
          <ac:chgData name="Ischanka, Eugen" userId="e4e12248-2210-4459-89e3-acb2dd10c338" providerId="ADAL" clId="{33694F81-A8DD-4423-B208-B2D081542875}" dt="2023-10-19T09:48:14.322" v="873" actId="1076"/>
          <ac:spMkLst>
            <pc:docMk/>
            <pc:sldMk cId="2839034917" sldId="307"/>
            <ac:spMk id="11" creationId="{889A0678-F675-DA51-79CE-C330A8B1725B}"/>
          </ac:spMkLst>
        </pc:spChg>
        <pc:spChg chg="add mod">
          <ac:chgData name="Ischanka, Eugen" userId="e4e12248-2210-4459-89e3-acb2dd10c338" providerId="ADAL" clId="{33694F81-A8DD-4423-B208-B2D081542875}" dt="2023-10-19T09:47:53.672" v="832" actId="1076"/>
          <ac:spMkLst>
            <pc:docMk/>
            <pc:sldMk cId="2839034917" sldId="307"/>
            <ac:spMk id="12" creationId="{456A81EB-CEC1-7781-BC47-2D7FB9643F32}"/>
          </ac:spMkLst>
        </pc:spChg>
        <pc:spChg chg="add del mod">
          <ac:chgData name="Ischanka, Eugen" userId="e4e12248-2210-4459-89e3-acb2dd10c338" providerId="ADAL" clId="{33694F81-A8DD-4423-B208-B2D081542875}" dt="2023-10-25T13:10:23.739" v="2171" actId="478"/>
          <ac:spMkLst>
            <pc:docMk/>
            <pc:sldMk cId="2839034917" sldId="307"/>
            <ac:spMk id="13" creationId="{E282BE0D-07F4-17A3-7EC0-BEB35F6E53CC}"/>
          </ac:spMkLst>
        </pc:spChg>
        <pc:spChg chg="add del mod">
          <ac:chgData name="Ischanka, Eugen" userId="e4e12248-2210-4459-89e3-acb2dd10c338" providerId="ADAL" clId="{33694F81-A8DD-4423-B208-B2D081542875}" dt="2023-10-25T13:10:38.081" v="2173" actId="478"/>
          <ac:spMkLst>
            <pc:docMk/>
            <pc:sldMk cId="2839034917" sldId="307"/>
            <ac:spMk id="14" creationId="{25C0C5E6-5ECC-67C3-7D46-CAB797D1DC21}"/>
          </ac:spMkLst>
        </pc:spChg>
        <pc:spChg chg="add mod">
          <ac:chgData name="Ischanka, Eugen" userId="e4e12248-2210-4459-89e3-acb2dd10c338" providerId="ADAL" clId="{33694F81-A8DD-4423-B208-B2D081542875}" dt="2023-10-19T11:01:23.887" v="1247" actId="20577"/>
          <ac:spMkLst>
            <pc:docMk/>
            <pc:sldMk cId="2839034917" sldId="307"/>
            <ac:spMk id="15" creationId="{3FD091B7-40C1-F4B8-2815-80732DD403C4}"/>
          </ac:spMkLst>
        </pc:spChg>
        <pc:spChg chg="add mod">
          <ac:chgData name="Ischanka, Eugen" userId="e4e12248-2210-4459-89e3-acb2dd10c338" providerId="ADAL" clId="{33694F81-A8DD-4423-B208-B2D081542875}" dt="2023-10-19T11:02:01.776" v="1254" actId="1076"/>
          <ac:spMkLst>
            <pc:docMk/>
            <pc:sldMk cId="2839034917" sldId="307"/>
            <ac:spMk id="16" creationId="{EEF7E04E-79B3-D81C-101C-1E6C9A0B9127}"/>
          </ac:spMkLst>
        </pc:spChg>
        <pc:spChg chg="add del mod">
          <ac:chgData name="Ischanka, Eugen" userId="e4e12248-2210-4459-89e3-acb2dd10c338" providerId="ADAL" clId="{33694F81-A8DD-4423-B208-B2D081542875}" dt="2023-10-25T13:10:44.421" v="2174" actId="478"/>
          <ac:spMkLst>
            <pc:docMk/>
            <pc:sldMk cId="2839034917" sldId="307"/>
            <ac:spMk id="17" creationId="{2ED88A4E-F7E1-33AD-8FFC-4164C3508B19}"/>
          </ac:spMkLst>
        </pc:spChg>
        <pc:picChg chg="add mod">
          <ac:chgData name="Ischanka, Eugen" userId="e4e12248-2210-4459-89e3-acb2dd10c338" providerId="ADAL" clId="{33694F81-A8DD-4423-B208-B2D081542875}" dt="2023-10-19T09:45:53.739" v="791" actId="1076"/>
          <ac:picMkLst>
            <pc:docMk/>
            <pc:sldMk cId="2839034917" sldId="307"/>
            <ac:picMk id="5" creationId="{C1F671B9-0BED-2F61-83B3-55FB5C6B368E}"/>
          </ac:picMkLst>
        </pc:picChg>
        <pc:picChg chg="add mod">
          <ac:chgData name="Ischanka, Eugen" userId="e4e12248-2210-4459-89e3-acb2dd10c338" providerId="ADAL" clId="{33694F81-A8DD-4423-B208-B2D081542875}" dt="2023-10-19T09:45:55.754" v="792" actId="1076"/>
          <ac:picMkLst>
            <pc:docMk/>
            <pc:sldMk cId="2839034917" sldId="307"/>
            <ac:picMk id="7" creationId="{344F986C-AB7B-E53D-2D25-A22C57FD9A2A}"/>
          </ac:picMkLst>
        </pc:picChg>
      </pc:sldChg>
      <pc:sldChg chg="addSp delSp modSp add mod">
        <pc:chgData name="Ischanka, Eugen" userId="e4e12248-2210-4459-89e3-acb2dd10c338" providerId="ADAL" clId="{33694F81-A8DD-4423-B208-B2D081542875}" dt="2023-10-25T13:12:30.765" v="2290" actId="20577"/>
        <pc:sldMkLst>
          <pc:docMk/>
          <pc:sldMk cId="863125966" sldId="308"/>
        </pc:sldMkLst>
        <pc:spChg chg="mod">
          <ac:chgData name="Ischanka, Eugen" userId="e4e12248-2210-4459-89e3-acb2dd10c338" providerId="ADAL" clId="{33694F81-A8DD-4423-B208-B2D081542875}" dt="2023-10-19T11:33:24.768" v="1981" actId="313"/>
          <ac:spMkLst>
            <pc:docMk/>
            <pc:sldMk cId="863125966" sldId="308"/>
            <ac:spMk id="2" creationId="{5CE718C8-EE26-719B-23EB-D357305ABFA5}"/>
          </ac:spMkLst>
        </pc:spChg>
        <pc:spChg chg="add del mod">
          <ac:chgData name="Ischanka, Eugen" userId="e4e12248-2210-4459-89e3-acb2dd10c338" providerId="ADAL" clId="{33694F81-A8DD-4423-B208-B2D081542875}" dt="2023-10-25T13:11:18.154" v="2192" actId="478"/>
          <ac:spMkLst>
            <pc:docMk/>
            <pc:sldMk cId="863125966" sldId="308"/>
            <ac:spMk id="4" creationId="{DBF67706-0EE0-CC15-568D-2197B79F91E1}"/>
          </ac:spMkLst>
        </pc:spChg>
        <pc:spChg chg="add mod">
          <ac:chgData name="Ischanka, Eugen" userId="e4e12248-2210-4459-89e3-acb2dd10c338" providerId="ADAL" clId="{33694F81-A8DD-4423-B208-B2D081542875}" dt="2023-10-25T13:12:30.765" v="2290" actId="20577"/>
          <ac:spMkLst>
            <pc:docMk/>
            <pc:sldMk cId="863125966" sldId="308"/>
            <ac:spMk id="5" creationId="{EFF6E407-FFFF-A506-7522-7B927D7EAB56}"/>
          </ac:spMkLst>
        </pc:spChg>
        <pc:spChg chg="del">
          <ac:chgData name="Ischanka, Eugen" userId="e4e12248-2210-4459-89e3-acb2dd10c338" providerId="ADAL" clId="{33694F81-A8DD-4423-B208-B2D081542875}" dt="2023-10-19T09:49:55.869" v="1021" actId="478"/>
          <ac:spMkLst>
            <pc:docMk/>
            <pc:sldMk cId="863125966" sldId="308"/>
            <ac:spMk id="9" creationId="{7B1F37E9-6FE7-D004-7176-F9A5AF25E82C}"/>
          </ac:spMkLst>
        </pc:spChg>
        <pc:spChg chg="del">
          <ac:chgData name="Ischanka, Eugen" userId="e4e12248-2210-4459-89e3-acb2dd10c338" providerId="ADAL" clId="{33694F81-A8DD-4423-B208-B2D081542875}" dt="2023-10-19T09:49:58.408" v="1024" actId="478"/>
          <ac:spMkLst>
            <pc:docMk/>
            <pc:sldMk cId="863125966" sldId="308"/>
            <ac:spMk id="10" creationId="{4CAE0FF1-2DCB-8740-F17F-78CBD2103003}"/>
          </ac:spMkLst>
        </pc:spChg>
        <pc:spChg chg="del">
          <ac:chgData name="Ischanka, Eugen" userId="e4e12248-2210-4459-89e3-acb2dd10c338" providerId="ADAL" clId="{33694F81-A8DD-4423-B208-B2D081542875}" dt="2023-10-19T09:49:59.225" v="1025" actId="478"/>
          <ac:spMkLst>
            <pc:docMk/>
            <pc:sldMk cId="863125966" sldId="308"/>
            <ac:spMk id="11" creationId="{889A0678-F675-DA51-79CE-C330A8B1725B}"/>
          </ac:spMkLst>
        </pc:spChg>
        <pc:spChg chg="del">
          <ac:chgData name="Ischanka, Eugen" userId="e4e12248-2210-4459-89e3-acb2dd10c338" providerId="ADAL" clId="{33694F81-A8DD-4423-B208-B2D081542875}" dt="2023-10-19T09:50:00.011" v="1026" actId="478"/>
          <ac:spMkLst>
            <pc:docMk/>
            <pc:sldMk cId="863125966" sldId="308"/>
            <ac:spMk id="12" creationId="{456A81EB-CEC1-7781-BC47-2D7FB9643F32}"/>
          </ac:spMkLst>
        </pc:spChg>
        <pc:spChg chg="del mod">
          <ac:chgData name="Ischanka, Eugen" userId="e4e12248-2210-4459-89e3-acb2dd10c338" providerId="ADAL" clId="{33694F81-A8DD-4423-B208-B2D081542875}" dt="2023-10-19T09:49:57.351" v="1023" actId="478"/>
          <ac:spMkLst>
            <pc:docMk/>
            <pc:sldMk cId="863125966" sldId="308"/>
            <ac:spMk id="13" creationId="{E282BE0D-07F4-17A3-7EC0-BEB35F6E53CC}"/>
          </ac:spMkLst>
        </pc:spChg>
        <pc:spChg chg="del">
          <ac:chgData name="Ischanka, Eugen" userId="e4e12248-2210-4459-89e3-acb2dd10c338" providerId="ADAL" clId="{33694F81-A8DD-4423-B208-B2D081542875}" dt="2023-10-19T09:50:00.848" v="1027" actId="478"/>
          <ac:spMkLst>
            <pc:docMk/>
            <pc:sldMk cId="863125966" sldId="308"/>
            <ac:spMk id="14" creationId="{25C0C5E6-5ECC-67C3-7D46-CAB797D1DC21}"/>
          </ac:spMkLst>
        </pc:spChg>
        <pc:spChg chg="add mod">
          <ac:chgData name="Ischanka, Eugen" userId="e4e12248-2210-4459-89e3-acb2dd10c338" providerId="ADAL" clId="{33694F81-A8DD-4423-B208-B2D081542875}" dt="2023-10-19T10:58:54.028" v="1178" actId="1076"/>
          <ac:spMkLst>
            <pc:docMk/>
            <pc:sldMk cId="863125966" sldId="308"/>
            <ac:spMk id="17" creationId="{85AE1DDF-8491-92A4-3195-F4BB5EB7C9C4}"/>
          </ac:spMkLst>
        </pc:spChg>
        <pc:spChg chg="add del mod">
          <ac:chgData name="Ischanka, Eugen" userId="e4e12248-2210-4459-89e3-acb2dd10c338" providerId="ADAL" clId="{33694F81-A8DD-4423-B208-B2D081542875}" dt="2023-10-19T10:59:04.434" v="1181" actId="478"/>
          <ac:spMkLst>
            <pc:docMk/>
            <pc:sldMk cId="863125966" sldId="308"/>
            <ac:spMk id="18" creationId="{D57CB833-2CCA-04E4-5CA1-F40FE9525432}"/>
          </ac:spMkLst>
        </pc:spChg>
        <pc:spChg chg="add mod">
          <ac:chgData name="Ischanka, Eugen" userId="e4e12248-2210-4459-89e3-acb2dd10c338" providerId="ADAL" clId="{33694F81-A8DD-4423-B208-B2D081542875}" dt="2023-10-19T10:59:12.562" v="1183" actId="1076"/>
          <ac:spMkLst>
            <pc:docMk/>
            <pc:sldMk cId="863125966" sldId="308"/>
            <ac:spMk id="19" creationId="{B727C8EE-9B2B-B72F-FB4E-331EB5A60D5C}"/>
          </ac:spMkLst>
        </pc:spChg>
        <pc:spChg chg="add mod">
          <ac:chgData name="Ischanka, Eugen" userId="e4e12248-2210-4459-89e3-acb2dd10c338" providerId="ADAL" clId="{33694F81-A8DD-4423-B208-B2D081542875}" dt="2023-10-19T11:00:03.851" v="1214" actId="1076"/>
          <ac:spMkLst>
            <pc:docMk/>
            <pc:sldMk cId="863125966" sldId="308"/>
            <ac:spMk id="20" creationId="{137D01DD-C382-27F2-07AA-4438A034FCCF}"/>
          </ac:spMkLst>
        </pc:spChg>
        <pc:spChg chg="add mod">
          <ac:chgData name="Ischanka, Eugen" userId="e4e12248-2210-4459-89e3-acb2dd10c338" providerId="ADAL" clId="{33694F81-A8DD-4423-B208-B2D081542875}" dt="2023-10-25T13:12:02.626" v="2254" actId="1076"/>
          <ac:spMkLst>
            <pc:docMk/>
            <pc:sldMk cId="863125966" sldId="308"/>
            <ac:spMk id="21" creationId="{99F9663B-75DC-1988-6DA2-75B0C11AAD8F}"/>
          </ac:spMkLst>
        </pc:spChg>
        <pc:spChg chg="add mod">
          <ac:chgData name="Ischanka, Eugen" userId="e4e12248-2210-4459-89e3-acb2dd10c338" providerId="ADAL" clId="{33694F81-A8DD-4423-B208-B2D081542875}" dt="2023-10-19T11:08:16.515" v="1338" actId="1076"/>
          <ac:spMkLst>
            <pc:docMk/>
            <pc:sldMk cId="863125966" sldId="308"/>
            <ac:spMk id="22" creationId="{37FEBD15-5B74-D9DD-8181-13EDEFCA1B89}"/>
          </ac:spMkLst>
        </pc:spChg>
        <pc:spChg chg="add mod">
          <ac:chgData name="Ischanka, Eugen" userId="e4e12248-2210-4459-89e3-acb2dd10c338" providerId="ADAL" clId="{33694F81-A8DD-4423-B208-B2D081542875}" dt="2023-10-19T11:09:38.576" v="1442" actId="1076"/>
          <ac:spMkLst>
            <pc:docMk/>
            <pc:sldMk cId="863125966" sldId="308"/>
            <ac:spMk id="23" creationId="{F5A75432-4534-7071-CA78-9BC42E506AD1}"/>
          </ac:spMkLst>
        </pc:spChg>
        <pc:spChg chg="add del mod">
          <ac:chgData name="Ischanka, Eugen" userId="e4e12248-2210-4459-89e3-acb2dd10c338" providerId="ADAL" clId="{33694F81-A8DD-4423-B208-B2D081542875}" dt="2023-10-19T11:11:26.439" v="1444" actId="21"/>
          <ac:spMkLst>
            <pc:docMk/>
            <pc:sldMk cId="863125966" sldId="308"/>
            <ac:spMk id="24" creationId="{D29AE674-B4DA-8468-AA1B-8698CEA04294}"/>
          </ac:spMkLst>
        </pc:spChg>
        <pc:picChg chg="del">
          <ac:chgData name="Ischanka, Eugen" userId="e4e12248-2210-4459-89e3-acb2dd10c338" providerId="ADAL" clId="{33694F81-A8DD-4423-B208-B2D081542875}" dt="2023-10-19T09:49:53.408" v="1019" actId="478"/>
          <ac:picMkLst>
            <pc:docMk/>
            <pc:sldMk cId="863125966" sldId="308"/>
            <ac:picMk id="5" creationId="{C1F671B9-0BED-2F61-83B3-55FB5C6B368E}"/>
          </ac:picMkLst>
        </pc:picChg>
        <pc:picChg chg="add mod">
          <ac:chgData name="Ischanka, Eugen" userId="e4e12248-2210-4459-89e3-acb2dd10c338" providerId="ADAL" clId="{33694F81-A8DD-4423-B208-B2D081542875}" dt="2023-10-19T10:04:59.330" v="1111" actId="1076"/>
          <ac:picMkLst>
            <pc:docMk/>
            <pc:sldMk cId="863125966" sldId="308"/>
            <ac:picMk id="6" creationId="{873C4C76-B25A-4AD9-A886-DE417DF40433}"/>
          </ac:picMkLst>
        </pc:picChg>
        <pc:picChg chg="del">
          <ac:chgData name="Ischanka, Eugen" userId="e4e12248-2210-4459-89e3-acb2dd10c338" providerId="ADAL" clId="{33694F81-A8DD-4423-B208-B2D081542875}" dt="2023-10-19T09:49:53.909" v="1020" actId="478"/>
          <ac:picMkLst>
            <pc:docMk/>
            <pc:sldMk cId="863125966" sldId="308"/>
            <ac:picMk id="7" creationId="{344F986C-AB7B-E53D-2D25-A22C57FD9A2A}"/>
          </ac:picMkLst>
        </pc:picChg>
        <pc:picChg chg="add mod">
          <ac:chgData name="Ischanka, Eugen" userId="e4e12248-2210-4459-89e3-acb2dd10c338" providerId="ADAL" clId="{33694F81-A8DD-4423-B208-B2D081542875}" dt="2023-10-19T10:05:11.289" v="1115" actId="1076"/>
          <ac:picMkLst>
            <pc:docMk/>
            <pc:sldMk cId="863125966" sldId="308"/>
            <ac:picMk id="15" creationId="{9AD597C8-4E39-2E57-D332-5232BAF2F02A}"/>
          </ac:picMkLst>
        </pc:picChg>
        <pc:picChg chg="add mod">
          <ac:chgData name="Ischanka, Eugen" userId="e4e12248-2210-4459-89e3-acb2dd10c338" providerId="ADAL" clId="{33694F81-A8DD-4423-B208-B2D081542875}" dt="2023-10-19T10:05:14.006" v="1116" actId="1076"/>
          <ac:picMkLst>
            <pc:docMk/>
            <pc:sldMk cId="863125966" sldId="308"/>
            <ac:picMk id="16" creationId="{F86FDCCA-2D26-94C0-351D-A3BC804A2D3B}"/>
          </ac:picMkLst>
        </pc:picChg>
      </pc:sldChg>
      <pc:sldChg chg="addSp delSp modSp add mod">
        <pc:chgData name="Ischanka, Eugen" userId="e4e12248-2210-4459-89e3-acb2dd10c338" providerId="ADAL" clId="{33694F81-A8DD-4423-B208-B2D081542875}" dt="2023-10-25T13:14:55.498" v="2440" actId="1076"/>
        <pc:sldMkLst>
          <pc:docMk/>
          <pc:sldMk cId="593439388" sldId="309"/>
        </pc:sldMkLst>
        <pc:spChg chg="mod">
          <ac:chgData name="Ischanka, Eugen" userId="e4e12248-2210-4459-89e3-acb2dd10c338" providerId="ADAL" clId="{33694F81-A8DD-4423-B208-B2D081542875}" dt="2023-10-19T11:33:35.435" v="1989" actId="313"/>
          <ac:spMkLst>
            <pc:docMk/>
            <pc:sldMk cId="593439388" sldId="309"/>
            <ac:spMk id="2" creationId="{5CE718C8-EE26-719B-23EB-D357305ABFA5}"/>
          </ac:spMkLst>
        </pc:spChg>
        <pc:spChg chg="add mod">
          <ac:chgData name="Ischanka, Eugen" userId="e4e12248-2210-4459-89e3-acb2dd10c338" providerId="ADAL" clId="{33694F81-A8DD-4423-B208-B2D081542875}" dt="2023-10-25T13:14:55.498" v="2440" actId="1076"/>
          <ac:spMkLst>
            <pc:docMk/>
            <pc:sldMk cId="593439388" sldId="309"/>
            <ac:spMk id="4" creationId="{C118F0EE-3540-C35A-0C63-91FF592DE027}"/>
          </ac:spMkLst>
        </pc:spChg>
        <pc:spChg chg="add mod">
          <ac:chgData name="Ischanka, Eugen" userId="e4e12248-2210-4459-89e3-acb2dd10c338" providerId="ADAL" clId="{33694F81-A8DD-4423-B208-B2D081542875}" dt="2023-10-25T13:13:59.158" v="2331" actId="14100"/>
          <ac:spMkLst>
            <pc:docMk/>
            <pc:sldMk cId="593439388" sldId="309"/>
            <ac:spMk id="13" creationId="{43392C6C-6206-432B-34F6-F2FD4C26FBEA}"/>
          </ac:spMkLst>
        </pc:spChg>
        <pc:spChg chg="add mod">
          <ac:chgData name="Ischanka, Eugen" userId="e4e12248-2210-4459-89e3-acb2dd10c338" providerId="ADAL" clId="{33694F81-A8DD-4423-B208-B2D081542875}" dt="2023-10-19T11:13:22.407" v="1588" actId="20577"/>
          <ac:spMkLst>
            <pc:docMk/>
            <pc:sldMk cId="593439388" sldId="309"/>
            <ac:spMk id="14" creationId="{B1DB56BE-709F-812E-1F03-D0599402B11B}"/>
          </ac:spMkLst>
        </pc:spChg>
        <pc:spChg chg="add mod">
          <ac:chgData name="Ischanka, Eugen" userId="e4e12248-2210-4459-89e3-acb2dd10c338" providerId="ADAL" clId="{33694F81-A8DD-4423-B208-B2D081542875}" dt="2023-10-19T11:13:39.953" v="1603" actId="20577"/>
          <ac:spMkLst>
            <pc:docMk/>
            <pc:sldMk cId="593439388" sldId="309"/>
            <ac:spMk id="16" creationId="{B2E7B915-D887-78CA-B708-5414DA185EBD}"/>
          </ac:spMkLst>
        </pc:spChg>
        <pc:spChg chg="add mod">
          <ac:chgData name="Ischanka, Eugen" userId="e4e12248-2210-4459-89e3-acb2dd10c338" providerId="ADAL" clId="{33694F81-A8DD-4423-B208-B2D081542875}" dt="2023-10-19T11:13:57.949" v="1616" actId="20577"/>
          <ac:spMkLst>
            <pc:docMk/>
            <pc:sldMk cId="593439388" sldId="309"/>
            <ac:spMk id="17" creationId="{17CF4445-ED89-B620-6E20-9D25659DED45}"/>
          </ac:spMkLst>
        </pc:spChg>
        <pc:spChg chg="add mod">
          <ac:chgData name="Ischanka, Eugen" userId="e4e12248-2210-4459-89e3-acb2dd10c338" providerId="ADAL" clId="{33694F81-A8DD-4423-B208-B2D081542875}" dt="2023-10-19T11:14:12.589" v="1640" actId="20577"/>
          <ac:spMkLst>
            <pc:docMk/>
            <pc:sldMk cId="593439388" sldId="309"/>
            <ac:spMk id="18" creationId="{0724FE7D-DD8E-C13C-4556-8029B1BCC9FF}"/>
          </ac:spMkLst>
        </pc:spChg>
        <pc:spChg chg="add mod">
          <ac:chgData name="Ischanka, Eugen" userId="e4e12248-2210-4459-89e3-acb2dd10c338" providerId="ADAL" clId="{33694F81-A8DD-4423-B208-B2D081542875}" dt="2023-10-19T11:14:52.276" v="1646" actId="1076"/>
          <ac:spMkLst>
            <pc:docMk/>
            <pc:sldMk cId="593439388" sldId="309"/>
            <ac:spMk id="19" creationId="{E72B8E40-E0CB-947F-A27F-99F93E4A58AF}"/>
          </ac:spMkLst>
        </pc:spChg>
        <pc:spChg chg="add mod">
          <ac:chgData name="Ischanka, Eugen" userId="e4e12248-2210-4459-89e3-acb2dd10c338" providerId="ADAL" clId="{33694F81-A8DD-4423-B208-B2D081542875}" dt="2023-10-19T11:15:07.321" v="1662" actId="1076"/>
          <ac:spMkLst>
            <pc:docMk/>
            <pc:sldMk cId="593439388" sldId="309"/>
            <ac:spMk id="20" creationId="{D9AB696E-EA5C-D5E7-15B6-278C0012AC88}"/>
          </ac:spMkLst>
        </pc:spChg>
        <pc:spChg chg="add mod">
          <ac:chgData name="Ischanka, Eugen" userId="e4e12248-2210-4459-89e3-acb2dd10c338" providerId="ADAL" clId="{33694F81-A8DD-4423-B208-B2D081542875}" dt="2023-10-19T11:15:35.614" v="1732" actId="1076"/>
          <ac:spMkLst>
            <pc:docMk/>
            <pc:sldMk cId="593439388" sldId="309"/>
            <ac:spMk id="21" creationId="{A557DB60-5D98-BE9C-DB83-387A573E5AC8}"/>
          </ac:spMkLst>
        </pc:spChg>
        <pc:spChg chg="add mod">
          <ac:chgData name="Ischanka, Eugen" userId="e4e12248-2210-4459-89e3-acb2dd10c338" providerId="ADAL" clId="{33694F81-A8DD-4423-B208-B2D081542875}" dt="2023-10-25T13:14:18.550" v="2355" actId="1076"/>
          <ac:spMkLst>
            <pc:docMk/>
            <pc:sldMk cId="593439388" sldId="309"/>
            <ac:spMk id="22" creationId="{49B99928-FEFD-7159-C5DE-B90100F86333}"/>
          </ac:spMkLst>
        </pc:spChg>
        <pc:spChg chg="add mod">
          <ac:chgData name="Ischanka, Eugen" userId="e4e12248-2210-4459-89e3-acb2dd10c338" providerId="ADAL" clId="{33694F81-A8DD-4423-B208-B2D081542875}" dt="2023-10-19T11:23:22.163" v="1875" actId="1076"/>
          <ac:spMkLst>
            <pc:docMk/>
            <pc:sldMk cId="593439388" sldId="309"/>
            <ac:spMk id="23" creationId="{5F5B8CFB-6F0B-D24A-C6C9-4C7539335B60}"/>
          </ac:spMkLst>
        </pc:spChg>
        <pc:spChg chg="add mod">
          <ac:chgData name="Ischanka, Eugen" userId="e4e12248-2210-4459-89e3-acb2dd10c338" providerId="ADAL" clId="{33694F81-A8DD-4423-B208-B2D081542875}" dt="2023-10-19T11:24:15.450" v="1901" actId="1076"/>
          <ac:spMkLst>
            <pc:docMk/>
            <pc:sldMk cId="593439388" sldId="309"/>
            <ac:spMk id="24" creationId="{F4650F1F-77BA-2627-7641-494090796662}"/>
          </ac:spMkLst>
        </pc:spChg>
        <pc:spChg chg="add mod">
          <ac:chgData name="Ischanka, Eugen" userId="e4e12248-2210-4459-89e3-acb2dd10c338" providerId="ADAL" clId="{33694F81-A8DD-4423-B208-B2D081542875}" dt="2023-10-19T11:24:32.552" v="1903" actId="1076"/>
          <ac:spMkLst>
            <pc:docMk/>
            <pc:sldMk cId="593439388" sldId="309"/>
            <ac:spMk id="25" creationId="{34CA2655-2D12-C406-B4CD-6ACA767664E0}"/>
          </ac:spMkLst>
        </pc:spChg>
        <pc:picChg chg="add del mod">
          <ac:chgData name="Ischanka, Eugen" userId="e4e12248-2210-4459-89e3-acb2dd10c338" providerId="ADAL" clId="{33694F81-A8DD-4423-B208-B2D081542875}" dt="2023-10-19T10:05:17.002" v="1117" actId="478"/>
          <ac:picMkLst>
            <pc:docMk/>
            <pc:sldMk cId="593439388" sldId="309"/>
            <ac:picMk id="5" creationId="{C8744FCB-BA87-68E3-C486-7A25A3A826AF}"/>
          </ac:picMkLst>
        </pc:picChg>
        <pc:picChg chg="del">
          <ac:chgData name="Ischanka, Eugen" userId="e4e12248-2210-4459-89e3-acb2dd10c338" providerId="ADAL" clId="{33694F81-A8DD-4423-B208-B2D081542875}" dt="2023-10-19T10:01:59.281" v="1072" actId="478"/>
          <ac:picMkLst>
            <pc:docMk/>
            <pc:sldMk cId="593439388" sldId="309"/>
            <ac:picMk id="6" creationId="{873C4C76-B25A-4AD9-A886-DE417DF40433}"/>
          </ac:picMkLst>
        </pc:picChg>
        <pc:picChg chg="add mod">
          <ac:chgData name="Ischanka, Eugen" userId="e4e12248-2210-4459-89e3-acb2dd10c338" providerId="ADAL" clId="{33694F81-A8DD-4423-B208-B2D081542875}" dt="2023-10-19T10:16:39.596" v="1158" actId="1076"/>
          <ac:picMkLst>
            <pc:docMk/>
            <pc:sldMk cId="593439388" sldId="309"/>
            <ac:picMk id="8" creationId="{89568FB7-24FC-EDCA-7112-FE7B948E792F}"/>
          </ac:picMkLst>
        </pc:picChg>
        <pc:picChg chg="add mod">
          <ac:chgData name="Ischanka, Eugen" userId="e4e12248-2210-4459-89e3-acb2dd10c338" providerId="ADAL" clId="{33694F81-A8DD-4423-B208-B2D081542875}" dt="2023-10-19T11:14:28.282" v="1642" actId="1076"/>
          <ac:picMkLst>
            <pc:docMk/>
            <pc:sldMk cId="593439388" sldId="309"/>
            <ac:picMk id="10" creationId="{64AD821A-1CF4-4624-18D8-D122954DC92C}"/>
          </ac:picMkLst>
        </pc:picChg>
        <pc:picChg chg="add mod">
          <ac:chgData name="Ischanka, Eugen" userId="e4e12248-2210-4459-89e3-acb2dd10c338" providerId="ADAL" clId="{33694F81-A8DD-4423-B208-B2D081542875}" dt="2023-10-19T11:14:31.396" v="1643" actId="1076"/>
          <ac:picMkLst>
            <pc:docMk/>
            <pc:sldMk cId="593439388" sldId="309"/>
            <ac:picMk id="12" creationId="{7B967E7E-C7F2-17D1-B723-9A9933269CCC}"/>
          </ac:picMkLst>
        </pc:picChg>
        <pc:picChg chg="del">
          <ac:chgData name="Ischanka, Eugen" userId="e4e12248-2210-4459-89e3-acb2dd10c338" providerId="ADAL" clId="{33694F81-A8DD-4423-B208-B2D081542875}" dt="2023-10-19T10:01:59.805" v="1073" actId="478"/>
          <ac:picMkLst>
            <pc:docMk/>
            <pc:sldMk cId="593439388" sldId="309"/>
            <ac:picMk id="15" creationId="{9AD597C8-4E39-2E57-D332-5232BAF2F02A}"/>
          </ac:picMkLst>
        </pc:picChg>
      </pc:sldChg>
      <pc:sldChg chg="addSp delSp modSp new mod">
        <pc:chgData name="Ischanka, Eugen" userId="e4e12248-2210-4459-89e3-acb2dd10c338" providerId="ADAL" clId="{33694F81-A8DD-4423-B208-B2D081542875}" dt="2023-10-25T13:13:25.310" v="2326" actId="1076"/>
        <pc:sldMkLst>
          <pc:docMk/>
          <pc:sldMk cId="1322778520" sldId="310"/>
        </pc:sldMkLst>
        <pc:spChg chg="mod">
          <ac:chgData name="Ischanka, Eugen" userId="e4e12248-2210-4459-89e3-acb2dd10c338" providerId="ADAL" clId="{33694F81-A8DD-4423-B208-B2D081542875}" dt="2023-10-19T11:33:14.426" v="1973" actId="313"/>
          <ac:spMkLst>
            <pc:docMk/>
            <pc:sldMk cId="1322778520" sldId="310"/>
            <ac:spMk id="2" creationId="{53D81632-052C-32FF-3931-C8A1AB5BA2E1}"/>
          </ac:spMkLst>
        </pc:spChg>
        <pc:spChg chg="add mod">
          <ac:chgData name="Ischanka, Eugen" userId="e4e12248-2210-4459-89e3-acb2dd10c338" providerId="ADAL" clId="{33694F81-A8DD-4423-B208-B2D081542875}" dt="2023-10-25T13:13:11.283" v="2314" actId="14100"/>
          <ac:spMkLst>
            <pc:docMk/>
            <pc:sldMk cId="1322778520" sldId="310"/>
            <ac:spMk id="4" creationId="{3B4B4511-EAED-5EE1-842C-53F66ECF548C}"/>
          </ac:spMkLst>
        </pc:spChg>
        <pc:spChg chg="add mod">
          <ac:chgData name="Ischanka, Eugen" userId="e4e12248-2210-4459-89e3-acb2dd10c338" providerId="ADAL" clId="{33694F81-A8DD-4423-B208-B2D081542875}" dt="2023-10-25T13:13:25.310" v="2326" actId="1076"/>
          <ac:spMkLst>
            <pc:docMk/>
            <pc:sldMk cId="1322778520" sldId="310"/>
            <ac:spMk id="5" creationId="{CBBC7A15-4BC0-181F-C686-57FA62015E20}"/>
          </ac:spMkLst>
        </pc:spChg>
        <pc:spChg chg="add mod">
          <ac:chgData name="Ischanka, Eugen" userId="e4e12248-2210-4459-89e3-acb2dd10c338" providerId="ADAL" clId="{33694F81-A8DD-4423-B208-B2D081542875}" dt="2023-10-19T11:49:21.581" v="2031" actId="1076"/>
          <ac:spMkLst>
            <pc:docMk/>
            <pc:sldMk cId="1322778520" sldId="310"/>
            <ac:spMk id="8" creationId="{9AD4C273-7FDC-DDA2-7B13-195ED1678C17}"/>
          </ac:spMkLst>
        </pc:spChg>
        <pc:spChg chg="add mod">
          <ac:chgData name="Ischanka, Eugen" userId="e4e12248-2210-4459-89e3-acb2dd10c338" providerId="ADAL" clId="{33694F81-A8DD-4423-B208-B2D081542875}" dt="2023-10-19T11:54:09.745" v="2057" actId="1076"/>
          <ac:spMkLst>
            <pc:docMk/>
            <pc:sldMk cId="1322778520" sldId="310"/>
            <ac:spMk id="11" creationId="{36FEB774-8D39-A825-FF31-3F39FF133E5A}"/>
          </ac:spMkLst>
        </pc:spChg>
        <pc:spChg chg="add mod">
          <ac:chgData name="Ischanka, Eugen" userId="e4e12248-2210-4459-89e3-acb2dd10c338" providerId="ADAL" clId="{33694F81-A8DD-4423-B208-B2D081542875}" dt="2023-10-19T12:00:53.148" v="2135" actId="1076"/>
          <ac:spMkLst>
            <pc:docMk/>
            <pc:sldMk cId="1322778520" sldId="310"/>
            <ac:spMk id="12" creationId="{2390025C-50DF-7ABB-EF26-6813D3CAB4D5}"/>
          </ac:spMkLst>
        </pc:spChg>
        <pc:spChg chg="add mod">
          <ac:chgData name="Ischanka, Eugen" userId="e4e12248-2210-4459-89e3-acb2dd10c338" providerId="ADAL" clId="{33694F81-A8DD-4423-B208-B2D081542875}" dt="2023-10-19T12:01:11.990" v="2152" actId="1076"/>
          <ac:spMkLst>
            <pc:docMk/>
            <pc:sldMk cId="1322778520" sldId="310"/>
            <ac:spMk id="13" creationId="{BD5DF11D-8318-F479-EFD8-B40AEB9C0669}"/>
          </ac:spMkLst>
        </pc:spChg>
        <pc:spChg chg="add mod">
          <ac:chgData name="Ischanka, Eugen" userId="e4e12248-2210-4459-89e3-acb2dd10c338" providerId="ADAL" clId="{33694F81-A8DD-4423-B208-B2D081542875}" dt="2023-10-19T12:01:27.886" v="2169" actId="1076"/>
          <ac:spMkLst>
            <pc:docMk/>
            <pc:sldMk cId="1322778520" sldId="310"/>
            <ac:spMk id="14" creationId="{903671BD-8671-9D41-573A-31C12FBFE9C5}"/>
          </ac:spMkLst>
        </pc:spChg>
        <pc:picChg chg="add del mod">
          <ac:chgData name="Ischanka, Eugen" userId="e4e12248-2210-4459-89e3-acb2dd10c338" providerId="ADAL" clId="{33694F81-A8DD-4423-B208-B2D081542875}" dt="2023-10-19T11:53:17.018" v="2032" actId="478"/>
          <ac:picMkLst>
            <pc:docMk/>
            <pc:sldMk cId="1322778520" sldId="310"/>
            <ac:picMk id="5" creationId="{7315107B-5955-B6BE-59A0-AF02EACBA804}"/>
          </ac:picMkLst>
        </pc:picChg>
        <pc:picChg chg="add mod">
          <ac:chgData name="Ischanka, Eugen" userId="e4e12248-2210-4459-89e3-acb2dd10c338" providerId="ADAL" clId="{33694F81-A8DD-4423-B208-B2D081542875}" dt="2023-10-19T11:48:45.494" v="1993" actId="1076"/>
          <ac:picMkLst>
            <pc:docMk/>
            <pc:sldMk cId="1322778520" sldId="310"/>
            <ac:picMk id="7" creationId="{CBA5B292-F21A-DD77-BF57-9AF14E54D3A5}"/>
          </ac:picMkLst>
        </pc:picChg>
        <pc:picChg chg="add mod">
          <ac:chgData name="Ischanka, Eugen" userId="e4e12248-2210-4459-89e3-acb2dd10c338" providerId="ADAL" clId="{33694F81-A8DD-4423-B208-B2D081542875}" dt="2023-10-19T11:53:35.544" v="2034" actId="1076"/>
          <ac:picMkLst>
            <pc:docMk/>
            <pc:sldMk cId="1322778520" sldId="310"/>
            <ac:picMk id="10" creationId="{3BA67BC6-1476-B42E-B9CA-B12EFA59F8A6}"/>
          </ac:picMkLst>
        </pc:picChg>
      </pc:sldChg>
      <pc:sldChg chg="addSp delSp modSp new mod">
        <pc:chgData name="Ischanka, Eugen" userId="e4e12248-2210-4459-89e3-acb2dd10c338" providerId="ADAL" clId="{33694F81-A8DD-4423-B208-B2D081542875}" dt="2023-10-19T11:59:53.174" v="2118" actId="20577"/>
        <pc:sldMkLst>
          <pc:docMk/>
          <pc:sldMk cId="1458051157" sldId="311"/>
        </pc:sldMkLst>
        <pc:spChg chg="mod">
          <ac:chgData name="Ischanka, Eugen" userId="e4e12248-2210-4459-89e3-acb2dd10c338" providerId="ADAL" clId="{33694F81-A8DD-4423-B208-B2D081542875}" dt="2023-10-19T11:59:53.174" v="2118" actId="20577"/>
          <ac:spMkLst>
            <pc:docMk/>
            <pc:sldMk cId="1458051157" sldId="311"/>
            <ac:spMk id="2" creationId="{F7E3A365-FA5E-1138-96ED-7D211B6A75A1}"/>
          </ac:spMkLst>
        </pc:spChg>
        <pc:picChg chg="add del">
          <ac:chgData name="Ischanka, Eugen" userId="e4e12248-2210-4459-89e3-acb2dd10c338" providerId="ADAL" clId="{33694F81-A8DD-4423-B208-B2D081542875}" dt="2023-10-19T11:56:24.405" v="2060" actId="478"/>
          <ac:picMkLst>
            <pc:docMk/>
            <pc:sldMk cId="1458051157" sldId="311"/>
            <ac:picMk id="5" creationId="{A0CCF1D0-7E86-33D6-2E5F-1127191B9F1C}"/>
          </ac:picMkLst>
        </pc:picChg>
        <pc:picChg chg="add mod">
          <ac:chgData name="Ischanka, Eugen" userId="e4e12248-2210-4459-89e3-acb2dd10c338" providerId="ADAL" clId="{33694F81-A8DD-4423-B208-B2D081542875}" dt="2023-10-19T11:58:51.487" v="2067" actId="1076"/>
          <ac:picMkLst>
            <pc:docMk/>
            <pc:sldMk cId="1458051157" sldId="311"/>
            <ac:picMk id="7" creationId="{E49B7EC2-FCB2-D9E3-82A0-CBFFA24E95CD}"/>
          </ac:picMkLst>
        </pc:picChg>
        <pc:picChg chg="add mod">
          <ac:chgData name="Ischanka, Eugen" userId="e4e12248-2210-4459-89e3-acb2dd10c338" providerId="ADAL" clId="{33694F81-A8DD-4423-B208-B2D081542875}" dt="2023-10-19T11:58:49.424" v="2066" actId="1076"/>
          <ac:picMkLst>
            <pc:docMk/>
            <pc:sldMk cId="1458051157" sldId="311"/>
            <ac:picMk id="9" creationId="{A3637EE7-9011-B2C0-94EF-46DA7C495D82}"/>
          </ac:picMkLst>
        </pc:picChg>
      </pc:sldChg>
    </pc:docChg>
  </pc:docChgLst>
  <pc:docChgLst>
    <pc:chgData name="Ruf, Marco" userId="3b8c6530-da78-4814-8de8-b82a03d7bb67" providerId="ADAL" clId="{545C3529-450D-4D0A-8633-7492830D186B}"/>
    <pc:docChg chg="undo custSel modSld">
      <pc:chgData name="Ruf, Marco" userId="3b8c6530-da78-4814-8de8-b82a03d7bb67" providerId="ADAL" clId="{545C3529-450D-4D0A-8633-7492830D186B}" dt="2024-07-30T09:19:13.195" v="1"/>
      <pc:docMkLst>
        <pc:docMk/>
      </pc:docMkLst>
      <pc:sldChg chg="modSp mod">
        <pc:chgData name="Ruf, Marco" userId="3b8c6530-da78-4814-8de8-b82a03d7bb67" providerId="ADAL" clId="{545C3529-450D-4D0A-8633-7492830D186B}" dt="2024-07-30T09:19:13.195" v="1"/>
        <pc:sldMkLst>
          <pc:docMk/>
          <pc:sldMk cId="3371421586" sldId="328"/>
        </pc:sldMkLst>
        <pc:spChg chg="mod">
          <ac:chgData name="Ruf, Marco" userId="3b8c6530-da78-4814-8de8-b82a03d7bb67" providerId="ADAL" clId="{545C3529-450D-4D0A-8633-7492830D186B}" dt="2024-07-30T09:19:13.195" v="1"/>
          <ac:spMkLst>
            <pc:docMk/>
            <pc:sldMk cId="3371421586" sldId="328"/>
            <ac:spMk id="10" creationId="{B53E254A-21D6-8CA6-5B42-5A255BD3A71C}"/>
          </ac:spMkLst>
        </pc:spChg>
      </pc:sldChg>
    </pc:docChg>
  </pc:docChgLst>
  <pc:docChgLst>
    <pc:chgData name="Karkaba, Ali" userId="S::a.karkaba@gebhardt-group.com::fa222b13-d879-44b1-af5a-d37867fdb466" providerId="AD" clId="Web-{975E06CE-BDF6-4E18-A0CC-0A7B5F91EF57}"/>
    <pc:docChg chg="addSld modSld modSection">
      <pc:chgData name="Karkaba, Ali" userId="S::a.karkaba@gebhardt-group.com::fa222b13-d879-44b1-af5a-d37867fdb466" providerId="AD" clId="Web-{975E06CE-BDF6-4E18-A0CC-0A7B5F91EF57}" dt="2023-11-06T09:54:15.175" v="46" actId="1076"/>
      <pc:docMkLst>
        <pc:docMk/>
      </pc:docMkLst>
      <pc:sldChg chg="addSp delSp modSp">
        <pc:chgData name="Karkaba, Ali" userId="S::a.karkaba@gebhardt-group.com::fa222b13-d879-44b1-af5a-d37867fdb466" providerId="AD" clId="Web-{975E06CE-BDF6-4E18-A0CC-0A7B5F91EF57}" dt="2023-11-06T09:53:57.815" v="44" actId="20577"/>
        <pc:sldMkLst>
          <pc:docMk/>
          <pc:sldMk cId="116212042" sldId="325"/>
        </pc:sldMkLst>
        <pc:spChg chg="mod">
          <ac:chgData name="Karkaba, Ali" userId="S::a.karkaba@gebhardt-group.com::fa222b13-d879-44b1-af5a-d37867fdb466" providerId="AD" clId="Web-{975E06CE-BDF6-4E18-A0CC-0A7B5F91EF57}" dt="2023-11-06T09:53:57.815" v="44" actId="20577"/>
          <ac:spMkLst>
            <pc:docMk/>
            <pc:sldMk cId="116212042" sldId="325"/>
            <ac:spMk id="6" creationId="{88DEB260-19E8-10DF-DA53-6025E3C864A7}"/>
          </ac:spMkLst>
        </pc:spChg>
        <pc:picChg chg="add mod">
          <ac:chgData name="Karkaba, Ali" userId="S::a.karkaba@gebhardt-group.com::fa222b13-d879-44b1-af5a-d37867fdb466" providerId="AD" clId="Web-{975E06CE-BDF6-4E18-A0CC-0A7B5F91EF57}" dt="2023-11-06T09:49:09.015" v="13" actId="14100"/>
          <ac:picMkLst>
            <pc:docMk/>
            <pc:sldMk cId="116212042" sldId="325"/>
            <ac:picMk id="2" creationId="{9526372A-E808-303A-370F-1F777BEC3A3C}"/>
          </ac:picMkLst>
        </pc:picChg>
        <pc:picChg chg="del mod">
          <ac:chgData name="Karkaba, Ali" userId="S::a.karkaba@gebhardt-group.com::fa222b13-d879-44b1-af5a-d37867fdb466" providerId="AD" clId="Web-{975E06CE-BDF6-4E18-A0CC-0A7B5F91EF57}" dt="2023-11-06T09:48:44.718" v="6"/>
          <ac:picMkLst>
            <pc:docMk/>
            <pc:sldMk cId="116212042" sldId="325"/>
            <ac:picMk id="10" creationId="{3FDF3480-2D34-CBC8-C278-64749B9B5EB4}"/>
          </ac:picMkLst>
        </pc:picChg>
        <pc:picChg chg="mod">
          <ac:chgData name="Karkaba, Ali" userId="S::a.karkaba@gebhardt-group.com::fa222b13-d879-44b1-af5a-d37867fdb466" providerId="AD" clId="Web-{975E06CE-BDF6-4E18-A0CC-0A7B5F91EF57}" dt="2023-11-06T09:47:54.858" v="4" actId="1076"/>
          <ac:picMkLst>
            <pc:docMk/>
            <pc:sldMk cId="116212042" sldId="325"/>
            <ac:picMk id="12" creationId="{CD7CD53A-A887-D0F2-B256-F68583D310C9}"/>
          </ac:picMkLst>
        </pc:picChg>
      </pc:sldChg>
      <pc:sldChg chg="modSp add">
        <pc:chgData name="Karkaba, Ali" userId="S::a.karkaba@gebhardt-group.com::fa222b13-d879-44b1-af5a-d37867fdb466" providerId="AD" clId="Web-{975E06CE-BDF6-4E18-A0CC-0A7B5F91EF57}" dt="2023-11-06T09:54:15.175" v="46" actId="1076"/>
        <pc:sldMkLst>
          <pc:docMk/>
          <pc:sldMk cId="3972424466" sldId="326"/>
        </pc:sldMkLst>
        <pc:spChg chg="mod">
          <ac:chgData name="Karkaba, Ali" userId="S::a.karkaba@gebhardt-group.com::fa222b13-d879-44b1-af5a-d37867fdb466" providerId="AD" clId="Web-{975E06CE-BDF6-4E18-A0CC-0A7B5F91EF57}" dt="2023-11-06T09:53:53.550" v="41" actId="20577"/>
          <ac:spMkLst>
            <pc:docMk/>
            <pc:sldMk cId="3972424466" sldId="326"/>
            <ac:spMk id="6" creationId="{88DEB260-19E8-10DF-DA53-6025E3C864A7}"/>
          </ac:spMkLst>
        </pc:spChg>
        <pc:picChg chg="mod">
          <ac:chgData name="Karkaba, Ali" userId="S::a.karkaba@gebhardt-group.com::fa222b13-d879-44b1-af5a-d37867fdb466" providerId="AD" clId="Web-{975E06CE-BDF6-4E18-A0CC-0A7B5F91EF57}" dt="2023-11-06T09:54:09.269" v="45" actId="1076"/>
          <ac:picMkLst>
            <pc:docMk/>
            <pc:sldMk cId="3972424466" sldId="326"/>
            <ac:picMk id="7" creationId="{E7781A37-0533-BE87-62A9-01DCCF67C301}"/>
          </ac:picMkLst>
        </pc:picChg>
        <pc:picChg chg="mod">
          <ac:chgData name="Karkaba, Ali" userId="S::a.karkaba@gebhardt-group.com::fa222b13-d879-44b1-af5a-d37867fdb466" providerId="AD" clId="Web-{975E06CE-BDF6-4E18-A0CC-0A7B5F91EF57}" dt="2023-11-06T09:54:15.175" v="46" actId="1076"/>
          <ac:picMkLst>
            <pc:docMk/>
            <pc:sldMk cId="3972424466" sldId="326"/>
            <ac:picMk id="10" creationId="{08F56923-1A88-4F0C-B86C-E14F00352FDF}"/>
          </ac:picMkLst>
        </pc:picChg>
      </pc:sldChg>
    </pc:docChg>
  </pc:docChgLst>
  <pc:docChgLst>
    <pc:chgData name="Ischanka, Eugen" userId="e4e12248-2210-4459-89e3-acb2dd10c338" providerId="ADAL" clId="{8D72D075-BD27-405F-BE70-2327CB669AC4}"/>
    <pc:docChg chg="undo custSel addSld delSld modSld modSection">
      <pc:chgData name="Ischanka, Eugen" userId="e4e12248-2210-4459-89e3-acb2dd10c338" providerId="ADAL" clId="{8D72D075-BD27-405F-BE70-2327CB669AC4}" dt="2024-01-05T11:28:26.241" v="13" actId="47"/>
      <pc:docMkLst>
        <pc:docMk/>
      </pc:docMkLst>
      <pc:sldChg chg="addSp delSp modSp new del mod">
        <pc:chgData name="Ischanka, Eugen" userId="e4e12248-2210-4459-89e3-acb2dd10c338" providerId="ADAL" clId="{8D72D075-BD27-405F-BE70-2327CB669AC4}" dt="2024-01-05T11:28:26.241" v="13" actId="47"/>
        <pc:sldMkLst>
          <pc:docMk/>
          <pc:sldMk cId="2767300502" sldId="443"/>
        </pc:sldMkLst>
        <pc:spChg chg="add del">
          <ac:chgData name="Ischanka, Eugen" userId="e4e12248-2210-4459-89e3-acb2dd10c338" providerId="ADAL" clId="{8D72D075-BD27-405F-BE70-2327CB669AC4}" dt="2024-01-05T11:28:21.654" v="10" actId="478"/>
          <ac:spMkLst>
            <pc:docMk/>
            <pc:sldMk cId="2767300502" sldId="443"/>
            <ac:spMk id="2" creationId="{D49A9AE7-1F33-068A-D1D2-20104D5E5CA6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6" creationId="{E7BA0741-3C6D-451D-9FAD-A8D98102801E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7" creationId="{F0C1EDD1-DB63-25E8-B255-D248CD3A1905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8" creationId="{7468B00E-F990-4AA6-8489-08ED958A7E22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9" creationId="{B448F946-D78B-4CD3-98F4-9B5F12E374CE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10" creationId="{E6C7FCF5-0CF7-4CCF-A338-797C3A790A72}"/>
          </ac:spMkLst>
        </pc:spChg>
        <pc:graphicFrameChg chg="add del mod">
          <ac:chgData name="Ischanka, Eugen" userId="e4e12248-2210-4459-89e3-acb2dd10c338" providerId="ADAL" clId="{8D72D075-BD27-405F-BE70-2327CB669AC4}" dt="2024-01-05T11:28:23.680" v="12"/>
          <ac:graphicFrameMkLst>
            <pc:docMk/>
            <pc:sldMk cId="2767300502" sldId="443"/>
            <ac:graphicFrameMk id="5" creationId="{B190D346-9251-95B2-1AEF-DAB3C2957EF7}"/>
          </ac:graphicFrameMkLst>
        </pc:graphicFrameChg>
      </pc:sldChg>
    </pc:docChg>
  </pc:docChgLst>
  <pc:docChgLst>
    <pc:chgData name="Karkaba, Ali" userId="fa222b13-d879-44b1-af5a-d37867fdb466" providerId="ADAL" clId="{777FC2D0-00A4-475D-B305-3B0BD22073DB}"/>
    <pc:docChg chg="undo redo custSel addSld modSld">
      <pc:chgData name="Karkaba, Ali" userId="fa222b13-d879-44b1-af5a-d37867fdb466" providerId="ADAL" clId="{777FC2D0-00A4-475D-B305-3B0BD22073DB}" dt="2023-12-18T14:38:55.405" v="1523" actId="1076"/>
      <pc:docMkLst>
        <pc:docMk/>
      </pc:docMkLst>
      <pc:sldChg chg="addSp delSp modSp mod">
        <pc:chgData name="Karkaba, Ali" userId="fa222b13-d879-44b1-af5a-d37867fdb466" providerId="ADAL" clId="{777FC2D0-00A4-475D-B305-3B0BD22073DB}" dt="2023-12-15T12:48:56.685" v="1253" actId="21"/>
        <pc:sldMkLst>
          <pc:docMk/>
          <pc:sldMk cId="1757976955" sldId="357"/>
        </pc:sldMkLst>
        <pc:spChg chg="add del mod">
          <ac:chgData name="Karkaba, Ali" userId="fa222b13-d879-44b1-af5a-d37867fdb466" providerId="ADAL" clId="{777FC2D0-00A4-475D-B305-3B0BD22073DB}" dt="2023-12-15T12:48:56.685" v="1253" actId="21"/>
          <ac:spMkLst>
            <pc:docMk/>
            <pc:sldMk cId="1757976955" sldId="357"/>
            <ac:spMk id="5" creationId="{C55B016B-7C9A-A1B0-75A3-B5D730C54232}"/>
          </ac:spMkLst>
        </pc:spChg>
      </pc:sldChg>
      <pc:sldChg chg="addSp modSp mod">
        <pc:chgData name="Karkaba, Ali" userId="fa222b13-d879-44b1-af5a-d37867fdb466" providerId="ADAL" clId="{777FC2D0-00A4-475D-B305-3B0BD22073DB}" dt="2023-12-15T12:53:31.675" v="1352" actId="14100"/>
        <pc:sldMkLst>
          <pc:docMk/>
          <pc:sldMk cId="1898835580" sldId="412"/>
        </pc:sldMkLst>
        <pc:spChg chg="mod">
          <ac:chgData name="Karkaba, Ali" userId="fa222b13-d879-44b1-af5a-d37867fdb466" providerId="ADAL" clId="{777FC2D0-00A4-475D-B305-3B0BD22073DB}" dt="2023-12-15T12:53:31.675" v="1352" actId="14100"/>
          <ac:spMkLst>
            <pc:docMk/>
            <pc:sldMk cId="1898835580" sldId="412"/>
            <ac:spMk id="3" creationId="{573F90B1-F592-0726-E00D-A299D73AADA9}"/>
          </ac:spMkLst>
        </pc:spChg>
        <pc:spChg chg="add mod">
          <ac:chgData name="Karkaba, Ali" userId="fa222b13-d879-44b1-af5a-d37867fdb466" providerId="ADAL" clId="{777FC2D0-00A4-475D-B305-3B0BD22073DB}" dt="2023-12-07T15:47:33.972" v="34" actId="20577"/>
          <ac:spMkLst>
            <pc:docMk/>
            <pc:sldMk cId="1898835580" sldId="412"/>
            <ac:spMk id="6" creationId="{3636A54C-C095-DB22-9BE0-CEB2985621BE}"/>
          </ac:spMkLst>
        </pc:spChg>
      </pc:sldChg>
      <pc:sldChg chg="addSp delSp modSp mod">
        <pc:chgData name="Karkaba, Ali" userId="fa222b13-d879-44b1-af5a-d37867fdb466" providerId="ADAL" clId="{777FC2D0-00A4-475D-B305-3B0BD22073DB}" dt="2023-12-15T12:45:57.317" v="1155" actId="478"/>
        <pc:sldMkLst>
          <pc:docMk/>
          <pc:sldMk cId="206671879" sldId="415"/>
        </pc:sldMkLst>
        <pc:spChg chg="add del mod">
          <ac:chgData name="Karkaba, Ali" userId="fa222b13-d879-44b1-af5a-d37867fdb466" providerId="ADAL" clId="{777FC2D0-00A4-475D-B305-3B0BD22073DB}" dt="2023-12-15T12:45:57.317" v="1155" actId="478"/>
          <ac:spMkLst>
            <pc:docMk/>
            <pc:sldMk cId="206671879" sldId="415"/>
            <ac:spMk id="8" creationId="{86C9099A-B30C-8864-FEBB-06812939E147}"/>
          </ac:spMkLst>
        </pc:spChg>
      </pc:sldChg>
      <pc:sldChg chg="delSp mod">
        <pc:chgData name="Karkaba, Ali" userId="fa222b13-d879-44b1-af5a-d37867fdb466" providerId="ADAL" clId="{777FC2D0-00A4-475D-B305-3B0BD22073DB}" dt="2023-12-15T12:51:51.002" v="1346" actId="478"/>
        <pc:sldMkLst>
          <pc:docMk/>
          <pc:sldMk cId="3433820261" sldId="416"/>
        </pc:sldMkLst>
        <pc:spChg chg="del">
          <ac:chgData name="Karkaba, Ali" userId="fa222b13-d879-44b1-af5a-d37867fdb466" providerId="ADAL" clId="{777FC2D0-00A4-475D-B305-3B0BD22073DB}" dt="2023-12-15T12:51:51.002" v="1346" actId="478"/>
          <ac:spMkLst>
            <pc:docMk/>
            <pc:sldMk cId="3433820261" sldId="416"/>
            <ac:spMk id="7" creationId="{5B45CC25-CEBE-D9E6-1B20-FF6BC2F26314}"/>
          </ac:spMkLst>
        </pc:spChg>
      </pc:sldChg>
      <pc:sldChg chg="delSp modSp mod">
        <pc:chgData name="Karkaba, Ali" userId="fa222b13-d879-44b1-af5a-d37867fdb466" providerId="ADAL" clId="{777FC2D0-00A4-475D-B305-3B0BD22073DB}" dt="2023-12-15T12:59:16.396" v="1439" actId="21"/>
        <pc:sldMkLst>
          <pc:docMk/>
          <pc:sldMk cId="306161604" sldId="417"/>
        </pc:sldMkLst>
        <pc:spChg chg="mod">
          <ac:chgData name="Karkaba, Ali" userId="fa222b13-d879-44b1-af5a-d37867fdb466" providerId="ADAL" clId="{777FC2D0-00A4-475D-B305-3B0BD22073DB}" dt="2023-12-08T12:53:08.069" v="38" actId="20577"/>
          <ac:spMkLst>
            <pc:docMk/>
            <pc:sldMk cId="306161604" sldId="417"/>
            <ac:spMk id="2" creationId="{11ED4E1E-27B1-EC77-C41A-40FB570DD1C2}"/>
          </ac:spMkLst>
        </pc:spChg>
        <pc:spChg chg="del mod">
          <ac:chgData name="Karkaba, Ali" userId="fa222b13-d879-44b1-af5a-d37867fdb466" providerId="ADAL" clId="{777FC2D0-00A4-475D-B305-3B0BD22073DB}" dt="2023-12-15T12:59:16.396" v="1439" actId="21"/>
          <ac:spMkLst>
            <pc:docMk/>
            <pc:sldMk cId="306161604" sldId="417"/>
            <ac:spMk id="6" creationId="{8FF0A048-9508-EFDA-E715-7A927A6CF2CD}"/>
          </ac:spMkLst>
        </pc:spChg>
      </pc:sldChg>
      <pc:sldChg chg="modSp mod">
        <pc:chgData name="Karkaba, Ali" userId="fa222b13-d879-44b1-af5a-d37867fdb466" providerId="ADAL" clId="{777FC2D0-00A4-475D-B305-3B0BD22073DB}" dt="2023-12-08T12:49:38.859" v="37" actId="14100"/>
        <pc:sldMkLst>
          <pc:docMk/>
          <pc:sldMk cId="3296114413" sldId="420"/>
        </pc:sldMkLst>
        <pc:spChg chg="mod">
          <ac:chgData name="Karkaba, Ali" userId="fa222b13-d879-44b1-af5a-d37867fdb466" providerId="ADAL" clId="{777FC2D0-00A4-475D-B305-3B0BD22073DB}" dt="2023-12-08T12:49:38.859" v="37" actId="14100"/>
          <ac:spMkLst>
            <pc:docMk/>
            <pc:sldMk cId="3296114413" sldId="420"/>
            <ac:spMk id="11" creationId="{B1828B05-8265-F4CC-3B5B-E6B695071A32}"/>
          </ac:spMkLst>
        </pc:spChg>
      </pc:sldChg>
      <pc:sldChg chg="addSp modSp new mod">
        <pc:chgData name="Karkaba, Ali" userId="fa222b13-d879-44b1-af5a-d37867fdb466" providerId="ADAL" clId="{777FC2D0-00A4-475D-B305-3B0BD22073DB}" dt="2023-12-12T14:43:17.117" v="636" actId="12"/>
        <pc:sldMkLst>
          <pc:docMk/>
          <pc:sldMk cId="3143875857" sldId="422"/>
        </pc:sldMkLst>
        <pc:spChg chg="mod">
          <ac:chgData name="Karkaba, Ali" userId="fa222b13-d879-44b1-af5a-d37867fdb466" providerId="ADAL" clId="{777FC2D0-00A4-475D-B305-3B0BD22073DB}" dt="2023-12-12T14:41:43.083" v="612" actId="20577"/>
          <ac:spMkLst>
            <pc:docMk/>
            <pc:sldMk cId="3143875857" sldId="422"/>
            <ac:spMk id="2" creationId="{94B21A1C-77D2-3290-28F2-91C94B21A7B8}"/>
          </ac:spMkLst>
        </pc:spChg>
        <pc:spChg chg="mod">
          <ac:chgData name="Karkaba, Ali" userId="fa222b13-d879-44b1-af5a-d37867fdb466" providerId="ADAL" clId="{777FC2D0-00A4-475D-B305-3B0BD22073DB}" dt="2023-12-12T14:23:32.734" v="54" actId="20577"/>
          <ac:spMkLst>
            <pc:docMk/>
            <pc:sldMk cId="3143875857" sldId="422"/>
            <ac:spMk id="3" creationId="{BD4FD540-9E82-1F41-5E03-1035DAEBB864}"/>
          </ac:spMkLst>
        </pc:spChg>
        <pc:spChg chg="mod">
          <ac:chgData name="Karkaba, Ali" userId="fa222b13-d879-44b1-af5a-d37867fdb466" providerId="ADAL" clId="{777FC2D0-00A4-475D-B305-3B0BD22073DB}" dt="2023-12-12T14:23:39.920" v="56" actId="20577"/>
          <ac:spMkLst>
            <pc:docMk/>
            <pc:sldMk cId="3143875857" sldId="422"/>
            <ac:spMk id="4" creationId="{6CFE74D7-0148-2A5D-9E41-A7EB84D91A00}"/>
          </ac:spMkLst>
        </pc:spChg>
        <pc:graphicFrameChg chg="add mod modGraphic">
          <ac:chgData name="Karkaba, Ali" userId="fa222b13-d879-44b1-af5a-d37867fdb466" providerId="ADAL" clId="{777FC2D0-00A4-475D-B305-3B0BD22073DB}" dt="2023-12-12T14:43:17.117" v="636" actId="12"/>
          <ac:graphicFrameMkLst>
            <pc:docMk/>
            <pc:sldMk cId="3143875857" sldId="422"/>
            <ac:graphicFrameMk id="5" creationId="{5CEA2052-C936-60DA-45A9-070815F528AC}"/>
          </ac:graphicFrameMkLst>
        </pc:graphicFrameChg>
      </pc:sldChg>
      <pc:sldChg chg="modSp new mod">
        <pc:chgData name="Karkaba, Ali" userId="fa222b13-d879-44b1-af5a-d37867fdb466" providerId="ADAL" clId="{777FC2D0-00A4-475D-B305-3B0BD22073DB}" dt="2023-12-15T12:42:48.330" v="1149" actId="13926"/>
        <pc:sldMkLst>
          <pc:docMk/>
          <pc:sldMk cId="1275413563" sldId="423"/>
        </pc:sldMkLst>
        <pc:spChg chg="mod">
          <ac:chgData name="Karkaba, Ali" userId="fa222b13-d879-44b1-af5a-d37867fdb466" providerId="ADAL" clId="{777FC2D0-00A4-475D-B305-3B0BD22073DB}" dt="2023-12-15T12:42:48.330" v="1149" actId="13926"/>
          <ac:spMkLst>
            <pc:docMk/>
            <pc:sldMk cId="1275413563" sldId="423"/>
            <ac:spMk id="2" creationId="{E25E70AB-7C22-50FE-2D10-3E5221036017}"/>
          </ac:spMkLst>
        </pc:spChg>
        <pc:spChg chg="mod">
          <ac:chgData name="Karkaba, Ali" userId="fa222b13-d879-44b1-af5a-d37867fdb466" providerId="ADAL" clId="{777FC2D0-00A4-475D-B305-3B0BD22073DB}" dt="2023-12-12T14:43:51.069" v="664" actId="20577"/>
          <ac:spMkLst>
            <pc:docMk/>
            <pc:sldMk cId="1275413563" sldId="423"/>
            <ac:spMk id="3" creationId="{B455B147-9CB1-4561-1EFE-C75AEDA5337D}"/>
          </ac:spMkLst>
        </pc:spChg>
        <pc:spChg chg="mod">
          <ac:chgData name="Karkaba, Ali" userId="fa222b13-d879-44b1-af5a-d37867fdb466" providerId="ADAL" clId="{777FC2D0-00A4-475D-B305-3B0BD22073DB}" dt="2023-12-12T14:43:57.999" v="666" actId="20577"/>
          <ac:spMkLst>
            <pc:docMk/>
            <pc:sldMk cId="1275413563" sldId="423"/>
            <ac:spMk id="4" creationId="{2B2C534C-775B-ABF3-53E8-F9C2E1E18568}"/>
          </ac:spMkLst>
        </pc:spChg>
      </pc:sldChg>
      <pc:sldChg chg="delSp mod">
        <pc:chgData name="Karkaba, Ali" userId="fa222b13-d879-44b1-af5a-d37867fdb466" providerId="ADAL" clId="{777FC2D0-00A4-475D-B305-3B0BD22073DB}" dt="2023-12-15T12:43:26.790" v="1150" actId="478"/>
        <pc:sldMkLst>
          <pc:docMk/>
          <pc:sldMk cId="2585576138" sldId="424"/>
        </pc:sldMkLst>
        <pc:spChg chg="del">
          <ac:chgData name="Karkaba, Ali" userId="fa222b13-d879-44b1-af5a-d37867fdb466" providerId="ADAL" clId="{777FC2D0-00A4-475D-B305-3B0BD22073DB}" dt="2023-12-15T12:43:26.790" v="1150" actId="478"/>
          <ac:spMkLst>
            <pc:docMk/>
            <pc:sldMk cId="2585576138" sldId="424"/>
            <ac:spMk id="6" creationId="{9801F2BC-DCBC-7228-DDE9-8E50DB2C363D}"/>
          </ac:spMkLst>
        </pc:spChg>
      </pc:sldChg>
      <pc:sldChg chg="addSp modSp mod">
        <pc:chgData name="Karkaba, Ali" userId="fa222b13-d879-44b1-af5a-d37867fdb466" providerId="ADAL" clId="{777FC2D0-00A4-475D-B305-3B0BD22073DB}" dt="2023-12-18T14:11:10.453" v="1522" actId="20577"/>
        <pc:sldMkLst>
          <pc:docMk/>
          <pc:sldMk cId="2647160943" sldId="426"/>
        </pc:sldMkLst>
        <pc:spChg chg="add mod">
          <ac:chgData name="Karkaba, Ali" userId="fa222b13-d879-44b1-af5a-d37867fdb466" providerId="ADAL" clId="{777FC2D0-00A4-475D-B305-3B0BD22073DB}" dt="2023-12-18T14:11:10.453" v="1522" actId="20577"/>
          <ac:spMkLst>
            <pc:docMk/>
            <pc:sldMk cId="2647160943" sldId="426"/>
            <ac:spMk id="5" creationId="{28020608-A1ED-7828-FC3D-8F77D323AE7C}"/>
          </ac:spMkLst>
        </pc:spChg>
      </pc:sldChg>
      <pc:sldChg chg="addSp modSp">
        <pc:chgData name="Karkaba, Ali" userId="fa222b13-d879-44b1-af5a-d37867fdb466" providerId="ADAL" clId="{777FC2D0-00A4-475D-B305-3B0BD22073DB}" dt="2023-12-15T12:59:19.450" v="1440"/>
        <pc:sldMkLst>
          <pc:docMk/>
          <pc:sldMk cId="3073229798" sldId="427"/>
        </pc:sldMkLst>
        <pc:spChg chg="add mod">
          <ac:chgData name="Karkaba, Ali" userId="fa222b13-d879-44b1-af5a-d37867fdb466" providerId="ADAL" clId="{777FC2D0-00A4-475D-B305-3B0BD22073DB}" dt="2023-12-15T12:59:19.450" v="1440"/>
          <ac:spMkLst>
            <pc:docMk/>
            <pc:sldMk cId="3073229798" sldId="427"/>
            <ac:spMk id="5" creationId="{36BE443E-F287-7886-41B9-4FFBFDE23EA0}"/>
          </ac:spMkLst>
        </pc:spChg>
      </pc:sldChg>
      <pc:sldChg chg="addSp modSp new mod">
        <pc:chgData name="Karkaba, Ali" userId="fa222b13-d879-44b1-af5a-d37867fdb466" providerId="ADAL" clId="{777FC2D0-00A4-475D-B305-3B0BD22073DB}" dt="2023-12-18T14:38:55.405" v="1523" actId="1076"/>
        <pc:sldMkLst>
          <pc:docMk/>
          <pc:sldMk cId="277543081" sldId="428"/>
        </pc:sldMkLst>
        <pc:spChg chg="mod">
          <ac:chgData name="Karkaba, Ali" userId="fa222b13-d879-44b1-af5a-d37867fdb466" providerId="ADAL" clId="{777FC2D0-00A4-475D-B305-3B0BD22073DB}" dt="2023-12-15T12:49:33.271" v="1301" actId="20577"/>
          <ac:spMkLst>
            <pc:docMk/>
            <pc:sldMk cId="277543081" sldId="428"/>
            <ac:spMk id="3" creationId="{CCCD2928-DB93-A5A8-3F2C-5788F664260A}"/>
          </ac:spMkLst>
        </pc:spChg>
        <pc:spChg chg="mod">
          <ac:chgData name="Karkaba, Ali" userId="fa222b13-d879-44b1-af5a-d37867fdb466" providerId="ADAL" clId="{777FC2D0-00A4-475D-B305-3B0BD22073DB}" dt="2023-12-15T12:49:41.214" v="1303" actId="20577"/>
          <ac:spMkLst>
            <pc:docMk/>
            <pc:sldMk cId="277543081" sldId="428"/>
            <ac:spMk id="4" creationId="{40A0AEEF-7678-EDFC-05F5-4E133806F885}"/>
          </ac:spMkLst>
        </pc:spChg>
        <pc:spChg chg="add mod">
          <ac:chgData name="Karkaba, Ali" userId="fa222b13-d879-44b1-af5a-d37867fdb466" providerId="ADAL" clId="{777FC2D0-00A4-475D-B305-3B0BD22073DB}" dt="2023-12-18T14:38:55.405" v="1523" actId="1076"/>
          <ac:spMkLst>
            <pc:docMk/>
            <pc:sldMk cId="277543081" sldId="428"/>
            <ac:spMk id="5" creationId="{E6148FC1-5F09-9F73-FD77-13D41E07ED11}"/>
          </ac:spMkLst>
        </pc:spChg>
      </pc:sldChg>
      <pc:sldChg chg="modSp add mod">
        <pc:chgData name="Karkaba, Ali" userId="fa222b13-d879-44b1-af5a-d37867fdb466" providerId="ADAL" clId="{777FC2D0-00A4-475D-B305-3B0BD22073DB}" dt="2023-12-15T12:51:15.780" v="1342" actId="207"/>
        <pc:sldMkLst>
          <pc:docMk/>
          <pc:sldMk cId="3432875904" sldId="429"/>
        </pc:sldMkLst>
        <pc:spChg chg="mod">
          <ac:chgData name="Karkaba, Ali" userId="fa222b13-d879-44b1-af5a-d37867fdb466" providerId="ADAL" clId="{777FC2D0-00A4-475D-B305-3B0BD22073DB}" dt="2023-12-15T12:51:03.948" v="1330" actId="13926"/>
          <ac:spMkLst>
            <pc:docMk/>
            <pc:sldMk cId="3432875904" sldId="429"/>
            <ac:spMk id="3" creationId="{5422FF84-A844-0BB8-14FC-955581F1B1B4}"/>
          </ac:spMkLst>
        </pc:spChg>
        <pc:spChg chg="mod">
          <ac:chgData name="Karkaba, Ali" userId="fa222b13-d879-44b1-af5a-d37867fdb466" providerId="ADAL" clId="{777FC2D0-00A4-475D-B305-3B0BD22073DB}" dt="2023-12-15T12:51:15.780" v="1342" actId="207"/>
          <ac:spMkLst>
            <pc:docMk/>
            <pc:sldMk cId="3432875904" sldId="429"/>
            <ac:spMk id="6" creationId="{3196A012-4007-665C-4263-D31DA0E0B318}"/>
          </ac:spMkLst>
        </pc:spChg>
      </pc:sldChg>
      <pc:sldChg chg="modSp add mod">
        <pc:chgData name="Karkaba, Ali" userId="fa222b13-d879-44b1-af5a-d37867fdb466" providerId="ADAL" clId="{777FC2D0-00A4-475D-B305-3B0BD22073DB}" dt="2023-12-15T12:51:28.589" v="1345" actId="20577"/>
        <pc:sldMkLst>
          <pc:docMk/>
          <pc:sldMk cId="952644228" sldId="430"/>
        </pc:sldMkLst>
        <pc:spChg chg="mod">
          <ac:chgData name="Karkaba, Ali" userId="fa222b13-d879-44b1-af5a-d37867fdb466" providerId="ADAL" clId="{777FC2D0-00A4-475D-B305-3B0BD22073DB}" dt="2023-12-15T12:51:28.589" v="1345" actId="20577"/>
          <ac:spMkLst>
            <pc:docMk/>
            <pc:sldMk cId="952644228" sldId="430"/>
            <ac:spMk id="3" creationId="{5422FF84-A844-0BB8-14FC-955581F1B1B4}"/>
          </ac:spMkLst>
        </pc:spChg>
        <pc:spChg chg="mod">
          <ac:chgData name="Karkaba, Ali" userId="fa222b13-d879-44b1-af5a-d37867fdb466" providerId="ADAL" clId="{777FC2D0-00A4-475D-B305-3B0BD22073DB}" dt="2023-12-15T12:51:25.297" v="1344" actId="20577"/>
          <ac:spMkLst>
            <pc:docMk/>
            <pc:sldMk cId="952644228" sldId="430"/>
            <ac:spMk id="6" creationId="{3196A012-4007-665C-4263-D31DA0E0B318}"/>
          </ac:spMkLst>
        </pc:spChg>
      </pc:sldChg>
      <pc:sldChg chg="modSp add mod">
        <pc:chgData name="Karkaba, Ali" userId="fa222b13-d879-44b1-af5a-d37867fdb466" providerId="ADAL" clId="{777FC2D0-00A4-475D-B305-3B0BD22073DB}" dt="2023-12-15T12:58:32.870" v="1438" actId="1076"/>
        <pc:sldMkLst>
          <pc:docMk/>
          <pc:sldMk cId="948035709" sldId="431"/>
        </pc:sldMkLst>
        <pc:spChg chg="mod">
          <ac:chgData name="Karkaba, Ali" userId="fa222b13-d879-44b1-af5a-d37867fdb466" providerId="ADAL" clId="{777FC2D0-00A4-475D-B305-3B0BD22073DB}" dt="2023-12-15T12:58:31.558" v="1437" actId="1076"/>
          <ac:spMkLst>
            <pc:docMk/>
            <pc:sldMk cId="948035709" sldId="431"/>
            <ac:spMk id="3" creationId="{573F90B1-F592-0726-E00D-A299D73AADA9}"/>
          </ac:spMkLst>
        </pc:spChg>
        <pc:spChg chg="mod">
          <ac:chgData name="Karkaba, Ali" userId="fa222b13-d879-44b1-af5a-d37867fdb466" providerId="ADAL" clId="{777FC2D0-00A4-475D-B305-3B0BD22073DB}" dt="2023-12-15T12:58:32.870" v="1438" actId="1076"/>
          <ac:spMkLst>
            <pc:docMk/>
            <pc:sldMk cId="948035709" sldId="431"/>
            <ac:spMk id="6" creationId="{3636A54C-C095-DB22-9BE0-CEB2985621BE}"/>
          </ac:spMkLst>
        </pc:spChg>
        <pc:spChg chg="mod">
          <ac:chgData name="Karkaba, Ali" userId="fa222b13-d879-44b1-af5a-d37867fdb466" providerId="ADAL" clId="{777FC2D0-00A4-475D-B305-3B0BD22073DB}" dt="2023-12-15T12:55:26.539" v="1403" actId="20577"/>
          <ac:spMkLst>
            <pc:docMk/>
            <pc:sldMk cId="948035709" sldId="431"/>
            <ac:spMk id="8" creationId="{F80DA44B-BFFE-8ABF-8BBC-4DF06042150C}"/>
          </ac:spMkLst>
        </pc:spChg>
        <pc:graphicFrameChg chg="mod">
          <ac:chgData name="Karkaba, Ali" userId="fa222b13-d879-44b1-af5a-d37867fdb466" providerId="ADAL" clId="{777FC2D0-00A4-475D-B305-3B0BD22073DB}" dt="2023-12-15T12:54:49.421" v="1387" actId="20577"/>
          <ac:graphicFrameMkLst>
            <pc:docMk/>
            <pc:sldMk cId="948035709" sldId="431"/>
            <ac:graphicFrameMk id="7" creationId="{F75FB6A0-CD1E-408F-B5F5-D3DDD06FA479}"/>
          </ac:graphicFrameMkLst>
        </pc:graphicFrameChg>
      </pc:sldChg>
      <pc:sldChg chg="modSp add mod">
        <pc:chgData name="Karkaba, Ali" userId="fa222b13-d879-44b1-af5a-d37867fdb466" providerId="ADAL" clId="{777FC2D0-00A4-475D-B305-3B0BD22073DB}" dt="2023-12-18T08:23:37.229" v="1470" actId="20577"/>
        <pc:sldMkLst>
          <pc:docMk/>
          <pc:sldMk cId="3400566277" sldId="432"/>
        </pc:sldMkLst>
        <pc:spChg chg="mod">
          <ac:chgData name="Karkaba, Ali" userId="fa222b13-d879-44b1-af5a-d37867fdb466" providerId="ADAL" clId="{777FC2D0-00A4-475D-B305-3B0BD22073DB}" dt="2023-12-18T08:23:37.229" v="1470" actId="20577"/>
          <ac:spMkLst>
            <pc:docMk/>
            <pc:sldMk cId="3400566277" sldId="432"/>
            <ac:spMk id="3" creationId="{5422FF84-A844-0BB8-14FC-955581F1B1B4}"/>
          </ac:spMkLst>
        </pc:spChg>
        <pc:spChg chg="mod">
          <ac:chgData name="Karkaba, Ali" userId="fa222b13-d879-44b1-af5a-d37867fdb466" providerId="ADAL" clId="{777FC2D0-00A4-475D-B305-3B0BD22073DB}" dt="2023-12-18T08:23:28.011" v="1455" actId="20577"/>
          <ac:spMkLst>
            <pc:docMk/>
            <pc:sldMk cId="3400566277" sldId="432"/>
            <ac:spMk id="6" creationId="{3196A012-4007-665C-4263-D31DA0E0B318}"/>
          </ac:spMkLst>
        </pc:spChg>
      </pc:sldChg>
    </pc:docChg>
  </pc:docChgLst>
  <pc:docChgLst>
    <pc:chgData name="Karkaba, Ali" userId="S::a.karkaba@gebhardt-group.com::fa222b13-d879-44b1-af5a-d37867fdb466" providerId="AD" clId="Web-{B3C59000-4BDD-406F-9F89-EC4D23EA5EB9}"/>
    <pc:docChg chg="addSld delSld modSld modSection">
      <pc:chgData name="Karkaba, Ali" userId="S::a.karkaba@gebhardt-group.com::fa222b13-d879-44b1-af5a-d37867fdb466" providerId="AD" clId="Web-{B3C59000-4BDD-406F-9F89-EC4D23EA5EB9}" dt="2023-11-06T09:46:41.193" v="19" actId="20577"/>
      <pc:docMkLst>
        <pc:docMk/>
      </pc:docMkLst>
      <pc:sldChg chg="modSp add">
        <pc:chgData name="Karkaba, Ali" userId="S::a.karkaba@gebhardt-group.com::fa222b13-d879-44b1-af5a-d37867fdb466" providerId="AD" clId="Web-{B3C59000-4BDD-406F-9F89-EC4D23EA5EB9}" dt="2023-11-06T09:45:37.114" v="10" actId="20577"/>
        <pc:sldMkLst>
          <pc:docMk/>
          <pc:sldMk cId="1870400426" sldId="323"/>
        </pc:sldMkLst>
        <pc:spChg chg="mod">
          <ac:chgData name="Karkaba, Ali" userId="S::a.karkaba@gebhardt-group.com::fa222b13-d879-44b1-af5a-d37867fdb466" providerId="AD" clId="Web-{B3C59000-4BDD-406F-9F89-EC4D23EA5EB9}" dt="2023-11-06T09:45:37.114" v="10" actId="20577"/>
          <ac:spMkLst>
            <pc:docMk/>
            <pc:sldMk cId="1870400426" sldId="323"/>
            <ac:spMk id="5" creationId="{456DD427-B308-0F1F-9597-53D2F07A2659}"/>
          </ac:spMkLst>
        </pc:spChg>
      </pc:sldChg>
      <pc:sldChg chg="modSp add">
        <pc:chgData name="Karkaba, Ali" userId="S::a.karkaba@gebhardt-group.com::fa222b13-d879-44b1-af5a-d37867fdb466" providerId="AD" clId="Web-{B3C59000-4BDD-406F-9F89-EC4D23EA5EB9}" dt="2023-11-06T09:46:41.193" v="19" actId="20577"/>
        <pc:sldMkLst>
          <pc:docMk/>
          <pc:sldMk cId="2356655975" sldId="324"/>
        </pc:sldMkLst>
        <pc:spChg chg="mod">
          <ac:chgData name="Karkaba, Ali" userId="S::a.karkaba@gebhardt-group.com::fa222b13-d879-44b1-af5a-d37867fdb466" providerId="AD" clId="Web-{B3C59000-4BDD-406F-9F89-EC4D23EA5EB9}" dt="2023-11-06T09:46:41.193" v="19" actId="20577"/>
          <ac:spMkLst>
            <pc:docMk/>
            <pc:sldMk cId="2356655975" sldId="324"/>
            <ac:spMk id="17" creationId="{57E40CC4-FBBC-2D2B-ABCA-7E1BA8D3AD76}"/>
          </ac:spMkLst>
        </pc:spChg>
        <pc:spChg chg="mod">
          <ac:chgData name="Karkaba, Ali" userId="S::a.karkaba@gebhardt-group.com::fa222b13-d879-44b1-af5a-d37867fdb466" providerId="AD" clId="Web-{B3C59000-4BDD-406F-9F89-EC4D23EA5EB9}" dt="2023-11-06T09:46:40.459" v="17" actId="20577"/>
          <ac:spMkLst>
            <pc:docMk/>
            <pc:sldMk cId="2356655975" sldId="324"/>
            <ac:spMk id="19" creationId="{D61A8621-DA43-3454-C149-0808482B51F7}"/>
          </ac:spMkLst>
        </pc:spChg>
        <pc:spChg chg="mod">
          <ac:chgData name="Karkaba, Ali" userId="S::a.karkaba@gebhardt-group.com::fa222b13-d879-44b1-af5a-d37867fdb466" providerId="AD" clId="Web-{B3C59000-4BDD-406F-9F89-EC4D23EA5EB9}" dt="2023-11-06T09:46:20.771" v="15" actId="20577"/>
          <ac:spMkLst>
            <pc:docMk/>
            <pc:sldMk cId="2356655975" sldId="324"/>
            <ac:spMk id="22" creationId="{9BE90B8A-AFC5-397A-1561-125B1281B0D7}"/>
          </ac:spMkLst>
        </pc:spChg>
        <pc:spChg chg="mod">
          <ac:chgData name="Karkaba, Ali" userId="S::a.karkaba@gebhardt-group.com::fa222b13-d879-44b1-af5a-d37867fdb466" providerId="AD" clId="Web-{B3C59000-4BDD-406F-9F89-EC4D23EA5EB9}" dt="2023-11-06T09:46:26.287" v="16" actId="20577"/>
          <ac:spMkLst>
            <pc:docMk/>
            <pc:sldMk cId="2356655975" sldId="324"/>
            <ac:spMk id="23" creationId="{856640D8-2F68-D4C2-7D71-3F42E93F9DED}"/>
          </ac:spMkLst>
        </pc:spChg>
      </pc:sldChg>
      <pc:sldChg chg="add">
        <pc:chgData name="Karkaba, Ali" userId="S::a.karkaba@gebhardt-group.com::fa222b13-d879-44b1-af5a-d37867fdb466" providerId="AD" clId="Web-{B3C59000-4BDD-406F-9F89-EC4D23EA5EB9}" dt="2023-11-06T09:45:50.489" v="12"/>
        <pc:sldMkLst>
          <pc:docMk/>
          <pc:sldMk cId="116212042" sldId="325"/>
        </pc:sldMkLst>
      </pc:sldChg>
      <pc:sldChg chg="add del">
        <pc:chgData name="Karkaba, Ali" userId="S::a.karkaba@gebhardt-group.com::fa222b13-d879-44b1-af5a-d37867fdb466" providerId="AD" clId="Web-{B3C59000-4BDD-406F-9F89-EC4D23EA5EB9}" dt="2023-11-06T09:45:55.192" v="14"/>
        <pc:sldMkLst>
          <pc:docMk/>
          <pc:sldMk cId="91912583" sldId="326"/>
        </pc:sldMkLst>
      </pc:sldChg>
    </pc:docChg>
  </pc:docChgLst>
  <pc:docChgLst>
    <pc:chgData name="Ischanka, Eugen" userId="e4e12248-2210-4459-89e3-acb2dd10c338" providerId="ADAL" clId="{F63289C0-1901-40AD-98BF-EEDCC8A45BD2}"/>
    <pc:docChg chg="undo custSel addSld delSld modSld">
      <pc:chgData name="Ischanka, Eugen" userId="e4e12248-2210-4459-89e3-acb2dd10c338" providerId="ADAL" clId="{F63289C0-1901-40AD-98BF-EEDCC8A45BD2}" dt="2024-02-06T12:32:07.026" v="22"/>
      <pc:docMkLst>
        <pc:docMk/>
      </pc:docMkLst>
      <pc:sldChg chg="addSp delSp modSp mod">
        <pc:chgData name="Ischanka, Eugen" userId="e4e12248-2210-4459-89e3-acb2dd10c338" providerId="ADAL" clId="{F63289C0-1901-40AD-98BF-EEDCC8A45BD2}" dt="2024-02-05T11:30:44.476" v="8" actId="21"/>
        <pc:sldMkLst>
          <pc:docMk/>
          <pc:sldMk cId="3371421586" sldId="328"/>
        </pc:sldMkLst>
        <pc:spChg chg="add del mod">
          <ac:chgData name="Ischanka, Eugen" userId="e4e12248-2210-4459-89e3-acb2dd10c338" providerId="ADAL" clId="{F63289C0-1901-40AD-98BF-EEDCC8A45BD2}" dt="2024-02-05T11:30:44.476" v="8" actId="21"/>
          <ac:spMkLst>
            <pc:docMk/>
            <pc:sldMk cId="3371421586" sldId="328"/>
            <ac:spMk id="4" creationId="{34C9BB76-C542-7CC3-29D4-BACF3B300AE8}"/>
          </ac:spMkLst>
        </pc:spChg>
        <pc:picChg chg="add del">
          <ac:chgData name="Ischanka, Eugen" userId="e4e12248-2210-4459-89e3-acb2dd10c338" providerId="ADAL" clId="{F63289C0-1901-40AD-98BF-EEDCC8A45BD2}" dt="2024-02-05T11:30:44.476" v="8" actId="21"/>
          <ac:picMkLst>
            <pc:docMk/>
            <pc:sldMk cId="3371421586" sldId="328"/>
            <ac:picMk id="16" creationId="{4A3929BA-9AAC-5F8D-8BD3-EB5F169BAAA5}"/>
          </ac:picMkLst>
        </pc:picChg>
      </pc:sldChg>
      <pc:sldChg chg="modSp mod">
        <pc:chgData name="Ischanka, Eugen" userId="e4e12248-2210-4459-89e3-acb2dd10c338" providerId="ADAL" clId="{F63289C0-1901-40AD-98BF-EEDCC8A45BD2}" dt="2024-02-06T12:29:32.261" v="20" actId="1076"/>
        <pc:sldMkLst>
          <pc:docMk/>
          <pc:sldMk cId="182752618" sldId="340"/>
        </pc:sldMkLst>
        <pc:spChg chg="mod">
          <ac:chgData name="Ischanka, Eugen" userId="e4e12248-2210-4459-89e3-acb2dd10c338" providerId="ADAL" clId="{F63289C0-1901-40AD-98BF-EEDCC8A45BD2}" dt="2024-02-06T12:29:32.261" v="20" actId="1076"/>
          <ac:spMkLst>
            <pc:docMk/>
            <pc:sldMk cId="182752618" sldId="340"/>
            <ac:spMk id="8" creationId="{0253547F-7452-52C7-F39A-53CC8FC2672A}"/>
          </ac:spMkLst>
        </pc:spChg>
      </pc:sldChg>
      <pc:sldChg chg="modSp mod">
        <pc:chgData name="Ischanka, Eugen" userId="e4e12248-2210-4459-89e3-acb2dd10c338" providerId="ADAL" clId="{F63289C0-1901-40AD-98BF-EEDCC8A45BD2}" dt="2024-02-06T12:32:07.026" v="22"/>
        <pc:sldMkLst>
          <pc:docMk/>
          <pc:sldMk cId="3298816911" sldId="420"/>
        </pc:sldMkLst>
        <pc:graphicFrameChg chg="mod modGraphic">
          <ac:chgData name="Ischanka, Eugen" userId="e4e12248-2210-4459-89e3-acb2dd10c338" providerId="ADAL" clId="{F63289C0-1901-40AD-98BF-EEDCC8A45BD2}" dt="2024-02-06T12:32:07.026" v="22"/>
          <ac:graphicFrameMkLst>
            <pc:docMk/>
            <pc:sldMk cId="3298816911" sldId="420"/>
            <ac:graphicFrameMk id="58" creationId="{6E109145-8418-01BD-A625-923FD38719AC}"/>
          </ac:graphicFrameMkLst>
        </pc:graphicFrameChg>
      </pc:sldChg>
      <pc:sldChg chg="addSp modSp">
        <pc:chgData name="Ischanka, Eugen" userId="e4e12248-2210-4459-89e3-acb2dd10c338" providerId="ADAL" clId="{F63289C0-1901-40AD-98BF-EEDCC8A45BD2}" dt="2024-02-05T10:30:11.181" v="0"/>
        <pc:sldMkLst>
          <pc:docMk/>
          <pc:sldMk cId="1903217050" sldId="435"/>
        </pc:sldMkLst>
        <pc:spChg chg="add mod">
          <ac:chgData name="Ischanka, Eugen" userId="e4e12248-2210-4459-89e3-acb2dd10c338" providerId="ADAL" clId="{F63289C0-1901-40AD-98BF-EEDCC8A45BD2}" dt="2024-02-05T10:30:11.181" v="0"/>
          <ac:spMkLst>
            <pc:docMk/>
            <pc:sldMk cId="1903217050" sldId="435"/>
            <ac:spMk id="6" creationId="{9FE53982-3EB6-4B21-1E77-08A7FE14F82C}"/>
          </ac:spMkLst>
        </pc:spChg>
      </pc:sldChg>
      <pc:sldChg chg="new del">
        <pc:chgData name="Ischanka, Eugen" userId="e4e12248-2210-4459-89e3-acb2dd10c338" providerId="ADAL" clId="{F63289C0-1901-40AD-98BF-EEDCC8A45BD2}" dt="2024-02-05T11:31:30.966" v="19" actId="47"/>
        <pc:sldMkLst>
          <pc:docMk/>
          <pc:sldMk cId="1809962026" sldId="440"/>
        </pc:sldMkLst>
      </pc:sldChg>
      <pc:sldChg chg="addSp delSp modSp new del mod modClrScheme chgLayout">
        <pc:chgData name="Ischanka, Eugen" userId="e4e12248-2210-4459-89e3-acb2dd10c338" providerId="ADAL" clId="{F63289C0-1901-40AD-98BF-EEDCC8A45BD2}" dt="2024-02-05T11:30:43.911" v="7" actId="680"/>
        <pc:sldMkLst>
          <pc:docMk/>
          <pc:sldMk cId="2724719855" sldId="440"/>
        </pc:sldMkLst>
        <pc:spChg chg="add del">
          <ac:chgData name="Ischanka, Eugen" userId="e4e12248-2210-4459-89e3-acb2dd10c338" providerId="ADAL" clId="{F63289C0-1901-40AD-98BF-EEDCC8A45BD2}" dt="2024-02-05T11:30:43.456" v="6" actId="700"/>
          <ac:spMkLst>
            <pc:docMk/>
            <pc:sldMk cId="2724719855" sldId="440"/>
            <ac:spMk id="2" creationId="{DAA2D1FE-1953-D71E-878C-DFB82D90991F}"/>
          </ac:spMkLst>
        </pc:spChg>
        <pc:spChg chg="add del">
          <ac:chgData name="Ischanka, Eugen" userId="e4e12248-2210-4459-89e3-acb2dd10c338" providerId="ADAL" clId="{F63289C0-1901-40AD-98BF-EEDCC8A45BD2}" dt="2024-02-05T11:30:43.456" v="6" actId="700"/>
          <ac:spMkLst>
            <pc:docMk/>
            <pc:sldMk cId="2724719855" sldId="440"/>
            <ac:spMk id="3" creationId="{77447BEE-97AD-E59F-A4F6-BEEA2C2E9360}"/>
          </ac:spMkLst>
        </pc:spChg>
        <pc:spChg chg="add del">
          <ac:chgData name="Ischanka, Eugen" userId="e4e12248-2210-4459-89e3-acb2dd10c338" providerId="ADAL" clId="{F63289C0-1901-40AD-98BF-EEDCC8A45BD2}" dt="2024-02-05T11:30:43.456" v="6" actId="700"/>
          <ac:spMkLst>
            <pc:docMk/>
            <pc:sldMk cId="2724719855" sldId="440"/>
            <ac:spMk id="4" creationId="{EF8C770F-E786-E711-F98B-51C47AF6367E}"/>
          </ac:spMkLst>
        </pc:spChg>
        <pc:picChg chg="add mod">
          <ac:chgData name="Ischanka, Eugen" userId="e4e12248-2210-4459-89e3-acb2dd10c338" providerId="ADAL" clId="{F63289C0-1901-40AD-98BF-EEDCC8A45BD2}" dt="2024-02-05T11:30:43.126" v="5"/>
          <ac:picMkLst>
            <pc:docMk/>
            <pc:sldMk cId="2724719855" sldId="440"/>
            <ac:picMk id="16" creationId="{4A3929BA-9AAC-5F8D-8BD3-EB5F169BAAA5}"/>
          </ac:picMkLst>
        </pc:picChg>
      </pc:sldChg>
      <pc:sldChg chg="addSp modSp new del mod">
        <pc:chgData name="Ischanka, Eugen" userId="e4e12248-2210-4459-89e3-acb2dd10c338" providerId="ADAL" clId="{F63289C0-1901-40AD-98BF-EEDCC8A45BD2}" dt="2024-02-05T11:31:30.156" v="18" actId="47"/>
        <pc:sldMkLst>
          <pc:docMk/>
          <pc:sldMk cId="1943840226" sldId="441"/>
        </pc:sldMkLst>
        <pc:picChg chg="add mod modCrop">
          <ac:chgData name="Ischanka, Eugen" userId="e4e12248-2210-4459-89e3-acb2dd10c338" providerId="ADAL" clId="{F63289C0-1901-40AD-98BF-EEDCC8A45BD2}" dt="2024-02-05T11:31:27.338" v="17" actId="18131"/>
          <ac:picMkLst>
            <pc:docMk/>
            <pc:sldMk cId="1943840226" sldId="441"/>
            <ac:picMk id="2" creationId="{E472A871-6B97-ABC6-7788-2D0D345E6847}"/>
          </ac:picMkLst>
        </pc:picChg>
      </pc:sldChg>
    </pc:docChg>
  </pc:docChgLst>
  <pc:docChgLst>
    <pc:chgData name="Karkaba, Ali" userId="S::a.karkaba@gebhardt-group.com::fa222b13-d879-44b1-af5a-d37867fdb466" providerId="AD" clId="Web-{83762AEE-B4D7-4619-8ABF-CDB0D655A311}"/>
    <pc:docChg chg="addSld modSld sldOrd modSection">
      <pc:chgData name="Karkaba, Ali" userId="S::a.karkaba@gebhardt-group.com::fa222b13-d879-44b1-af5a-d37867fdb466" providerId="AD" clId="Web-{83762AEE-B4D7-4619-8ABF-CDB0D655A311}" dt="2023-11-06T10:31:57.156" v="153"/>
      <pc:docMkLst>
        <pc:docMk/>
      </pc:docMkLst>
      <pc:sldChg chg="ord">
        <pc:chgData name="Karkaba, Ali" userId="S::a.karkaba@gebhardt-group.com::fa222b13-d879-44b1-af5a-d37867fdb466" providerId="AD" clId="Web-{83762AEE-B4D7-4619-8ABF-CDB0D655A311}" dt="2023-11-06T10:08:38.209" v="1"/>
        <pc:sldMkLst>
          <pc:docMk/>
          <pc:sldMk cId="1870400426" sldId="323"/>
        </pc:sldMkLst>
      </pc:sldChg>
      <pc:sldChg chg="modSp ord">
        <pc:chgData name="Karkaba, Ali" userId="S::a.karkaba@gebhardt-group.com::fa222b13-d879-44b1-af5a-d37867fdb466" providerId="AD" clId="Web-{83762AEE-B4D7-4619-8ABF-CDB0D655A311}" dt="2023-11-06T10:08:59.115" v="2"/>
        <pc:sldMkLst>
          <pc:docMk/>
          <pc:sldMk cId="2356655975" sldId="324"/>
        </pc:sldMkLst>
        <pc:spChg chg="mod">
          <ac:chgData name="Karkaba, Ali" userId="S::a.karkaba@gebhardt-group.com::fa222b13-d879-44b1-af5a-d37867fdb466" providerId="AD" clId="Web-{83762AEE-B4D7-4619-8ABF-CDB0D655A311}" dt="2023-11-06T10:07:17.457" v="0" actId="20577"/>
          <ac:spMkLst>
            <pc:docMk/>
            <pc:sldMk cId="2356655975" sldId="324"/>
            <ac:spMk id="22" creationId="{9BE90B8A-AFC5-397A-1561-125B1281B0D7}"/>
          </ac:spMkLst>
        </pc:spChg>
      </pc:sldChg>
      <pc:sldChg chg="addSp modSp">
        <pc:chgData name="Karkaba, Ali" userId="S::a.karkaba@gebhardt-group.com::fa222b13-d879-44b1-af5a-d37867fdb466" providerId="AD" clId="Web-{83762AEE-B4D7-4619-8ABF-CDB0D655A311}" dt="2023-11-06T10:16:58.202" v="77" actId="14100"/>
        <pc:sldMkLst>
          <pc:docMk/>
          <pc:sldMk cId="116212042" sldId="325"/>
        </pc:sldMkLst>
        <pc:spChg chg="add mod">
          <ac:chgData name="Karkaba, Ali" userId="S::a.karkaba@gebhardt-group.com::fa222b13-d879-44b1-af5a-d37867fdb466" providerId="AD" clId="Web-{83762AEE-B4D7-4619-8ABF-CDB0D655A311}" dt="2023-11-06T10:16:58.202" v="77" actId="14100"/>
          <ac:spMkLst>
            <pc:docMk/>
            <pc:sldMk cId="116212042" sldId="325"/>
            <ac:spMk id="5" creationId="{C2BE19F8-68FB-82E6-D7EC-8BCB7BA84253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16:32.967" v="69" actId="20577"/>
          <ac:spMkLst>
            <pc:docMk/>
            <pc:sldMk cId="116212042" sldId="325"/>
            <ac:spMk id="6" creationId="{88DEB260-19E8-10DF-DA53-6025E3C864A7}"/>
          </ac:spMkLst>
        </pc:spChg>
        <pc:picChg chg="mod">
          <ac:chgData name="Karkaba, Ali" userId="S::a.karkaba@gebhardt-group.com::fa222b13-d879-44b1-af5a-d37867fdb466" providerId="AD" clId="Web-{83762AEE-B4D7-4619-8ABF-CDB0D655A311}" dt="2023-11-06T10:16:36.436" v="70" actId="1076"/>
          <ac:picMkLst>
            <pc:docMk/>
            <pc:sldMk cId="116212042" sldId="325"/>
            <ac:picMk id="2" creationId="{9526372A-E808-303A-370F-1F777BEC3A3C}"/>
          </ac:picMkLst>
        </pc:picChg>
        <pc:picChg chg="mod">
          <ac:chgData name="Karkaba, Ali" userId="S::a.karkaba@gebhardt-group.com::fa222b13-d879-44b1-af5a-d37867fdb466" providerId="AD" clId="Web-{83762AEE-B4D7-4619-8ABF-CDB0D655A311}" dt="2023-11-06T10:16:38.764" v="71" actId="1076"/>
          <ac:picMkLst>
            <pc:docMk/>
            <pc:sldMk cId="116212042" sldId="325"/>
            <ac:picMk id="12" creationId="{CD7CD53A-A887-D0F2-B256-F68583D310C9}"/>
          </ac:picMkLst>
        </pc:picChg>
      </pc:sldChg>
      <pc:sldChg chg="addSp delSp modSp">
        <pc:chgData name="Karkaba, Ali" userId="S::a.karkaba@gebhardt-group.com::fa222b13-d879-44b1-af5a-d37867fdb466" providerId="AD" clId="Web-{83762AEE-B4D7-4619-8ABF-CDB0D655A311}" dt="2023-11-06T10:30:57.686" v="149" actId="1076"/>
        <pc:sldMkLst>
          <pc:docMk/>
          <pc:sldMk cId="3972424466" sldId="326"/>
        </pc:sldMkLst>
        <pc:spChg chg="add mod">
          <ac:chgData name="Karkaba, Ali" userId="S::a.karkaba@gebhardt-group.com::fa222b13-d879-44b1-af5a-d37867fdb466" providerId="AD" clId="Web-{83762AEE-B4D7-4619-8ABF-CDB0D655A311}" dt="2023-11-06T10:30:36.342" v="145" actId="1076"/>
          <ac:spMkLst>
            <pc:docMk/>
            <pc:sldMk cId="3972424466" sldId="326"/>
            <ac:spMk id="2" creationId="{9FD1D2B3-4889-691A-E699-B1B8B8BCB629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5:55.540" v="96" actId="20577"/>
          <ac:spMkLst>
            <pc:docMk/>
            <pc:sldMk cId="3972424466" sldId="326"/>
            <ac:spMk id="3" creationId="{BD4EE334-5EAE-A0A8-6DD4-E4999BFBDAA2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6:03.743" v="97" actId="20577"/>
          <ac:spMkLst>
            <pc:docMk/>
            <pc:sldMk cId="3972424466" sldId="326"/>
            <ac:spMk id="6" creationId="{88DEB260-19E8-10DF-DA53-6025E3C864A7}"/>
          </ac:spMkLst>
        </pc:spChg>
        <pc:picChg chg="add del mod">
          <ac:chgData name="Karkaba, Ali" userId="S::a.karkaba@gebhardt-group.com::fa222b13-d879-44b1-af5a-d37867fdb466" providerId="AD" clId="Web-{83762AEE-B4D7-4619-8ABF-CDB0D655A311}" dt="2023-11-06T10:30:20.264" v="142"/>
          <ac:picMkLst>
            <pc:docMk/>
            <pc:sldMk cId="3972424466" sldId="326"/>
            <ac:picMk id="5" creationId="{000AC5C5-5C1E-8FE4-E92B-6B43061851E3}"/>
          </ac:picMkLst>
        </pc:picChg>
        <pc:picChg chg="mod">
          <ac:chgData name="Karkaba, Ali" userId="S::a.karkaba@gebhardt-group.com::fa222b13-d879-44b1-af5a-d37867fdb466" providerId="AD" clId="Web-{83762AEE-B4D7-4619-8ABF-CDB0D655A311}" dt="2023-11-06T10:21:02.957" v="92" actId="1076"/>
          <ac:picMkLst>
            <pc:docMk/>
            <pc:sldMk cId="3972424466" sldId="326"/>
            <ac:picMk id="7" creationId="{E7781A37-0533-BE87-62A9-01DCCF67C301}"/>
          </ac:picMkLst>
        </pc:picChg>
        <pc:picChg chg="add mod">
          <ac:chgData name="Karkaba, Ali" userId="S::a.karkaba@gebhardt-group.com::fa222b13-d879-44b1-af5a-d37867fdb466" providerId="AD" clId="Web-{83762AEE-B4D7-4619-8ABF-CDB0D655A311}" dt="2023-11-06T10:30:57.686" v="149" actId="1076"/>
          <ac:picMkLst>
            <pc:docMk/>
            <pc:sldMk cId="3972424466" sldId="326"/>
            <ac:picMk id="8" creationId="{14851895-8D23-86DB-001A-F45DEE3B18A9}"/>
          </ac:picMkLst>
        </pc:picChg>
        <pc:picChg chg="del mod">
          <ac:chgData name="Karkaba, Ali" userId="S::a.karkaba@gebhardt-group.com::fa222b13-d879-44b1-af5a-d37867fdb466" providerId="AD" clId="Web-{83762AEE-B4D7-4619-8ABF-CDB0D655A311}" dt="2023-11-06T10:28:08.277" v="125"/>
          <ac:picMkLst>
            <pc:docMk/>
            <pc:sldMk cId="3972424466" sldId="326"/>
            <ac:picMk id="10" creationId="{08F56923-1A88-4F0C-B86C-E14F00352FDF}"/>
          </ac:picMkLst>
        </pc:picChg>
      </pc:sldChg>
      <pc:sldChg chg="addSp delSp modSp add ord replId">
        <pc:chgData name="Karkaba, Ali" userId="S::a.karkaba@gebhardt-group.com::fa222b13-d879-44b1-af5a-d37867fdb466" providerId="AD" clId="Web-{83762AEE-B4D7-4619-8ABF-CDB0D655A311}" dt="2023-11-06T10:31:57.156" v="153"/>
        <pc:sldMkLst>
          <pc:docMk/>
          <pc:sldMk cId="2091844764" sldId="331"/>
        </pc:sldMkLst>
        <pc:spChg chg="mod">
          <ac:chgData name="Karkaba, Ali" userId="S::a.karkaba@gebhardt-group.com::fa222b13-d879-44b1-af5a-d37867fdb466" providerId="AD" clId="Web-{83762AEE-B4D7-4619-8ABF-CDB0D655A311}" dt="2023-11-06T10:30:41.248" v="146" actId="1076"/>
          <ac:spMkLst>
            <pc:docMk/>
            <pc:sldMk cId="2091844764" sldId="331"/>
            <ac:spMk id="2" creationId="{9FD1D2B3-4889-691A-E699-B1B8B8BCB629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5:50.462" v="95" actId="20577"/>
          <ac:spMkLst>
            <pc:docMk/>
            <pc:sldMk cId="2091844764" sldId="331"/>
            <ac:spMk id="3" creationId="{BD4EE334-5EAE-A0A8-6DD4-E4999BFBDAA2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6:08.790" v="98" actId="20577"/>
          <ac:spMkLst>
            <pc:docMk/>
            <pc:sldMk cId="2091844764" sldId="331"/>
            <ac:spMk id="6" creationId="{88DEB260-19E8-10DF-DA53-6025E3C864A7}"/>
          </ac:spMkLst>
        </pc:spChg>
        <pc:picChg chg="del">
          <ac:chgData name="Karkaba, Ali" userId="S::a.karkaba@gebhardt-group.com::fa222b13-d879-44b1-af5a-d37867fdb466" providerId="AD" clId="Web-{83762AEE-B4D7-4619-8ABF-CDB0D655A311}" dt="2023-11-06T10:26:17.150" v="99"/>
          <ac:picMkLst>
            <pc:docMk/>
            <pc:sldMk cId="2091844764" sldId="331"/>
            <ac:picMk id="7" creationId="{E7781A37-0533-BE87-62A9-01DCCF67C301}"/>
          </ac:picMkLst>
        </pc:picChg>
        <pc:picChg chg="add">
          <ac:chgData name="Karkaba, Ali" userId="S::a.karkaba@gebhardt-group.com::fa222b13-d879-44b1-af5a-d37867fdb466" providerId="AD" clId="Web-{83762AEE-B4D7-4619-8ABF-CDB0D655A311}" dt="2023-11-06T10:29:10.559" v="129"/>
          <ac:picMkLst>
            <pc:docMk/>
            <pc:sldMk cId="2091844764" sldId="331"/>
            <ac:picMk id="8" creationId="{9E1722A8-C1FB-C05E-76C9-5D7C2EAAED86}"/>
          </ac:picMkLst>
        </pc:picChg>
        <pc:picChg chg="mod">
          <ac:chgData name="Karkaba, Ali" userId="S::a.karkaba@gebhardt-group.com::fa222b13-d879-44b1-af5a-d37867fdb466" providerId="AD" clId="Web-{83762AEE-B4D7-4619-8ABF-CDB0D655A311}" dt="2023-11-06T10:31:16.718" v="151" actId="1076"/>
          <ac:picMkLst>
            <pc:docMk/>
            <pc:sldMk cId="2091844764" sldId="331"/>
            <ac:picMk id="10" creationId="{08F56923-1A88-4F0C-B86C-E14F00352FDF}"/>
          </ac:picMkLst>
        </pc:picChg>
      </pc:sldChg>
    </pc:docChg>
  </pc:docChgLst>
  <pc:docChgLst>
    <pc:chgData name="Ischanka, Eugen" userId="e4e12248-2210-4459-89e3-acb2dd10c338" providerId="ADAL" clId="{2DE7A1B9-D139-41ED-B0DB-32FE9C168CC3}"/>
    <pc:docChg chg="undo custSel addSld delSld modSld sldOrd modMainMaster addSection modSection">
      <pc:chgData name="Ischanka, Eugen" userId="e4e12248-2210-4459-89e3-acb2dd10c338" providerId="ADAL" clId="{2DE7A1B9-D139-41ED-B0DB-32FE9C168CC3}" dt="2024-07-25T13:06:54.133" v="11036" actId="20577"/>
      <pc:docMkLst>
        <pc:docMk/>
      </pc:docMkLst>
      <pc:sldChg chg="addSp delSp modSp mod">
        <pc:chgData name="Ischanka, Eugen" userId="e4e12248-2210-4459-89e3-acb2dd10c338" providerId="ADAL" clId="{2DE7A1B9-D139-41ED-B0DB-32FE9C168CC3}" dt="2024-07-24T12:25:01.103" v="498" actId="20577"/>
        <pc:sldMkLst>
          <pc:docMk/>
          <pc:sldMk cId="3371421586" sldId="328"/>
        </pc:sldMkLst>
        <pc:spChg chg="add mod">
          <ac:chgData name="Ischanka, Eugen" userId="e4e12248-2210-4459-89e3-acb2dd10c338" providerId="ADAL" clId="{2DE7A1B9-D139-41ED-B0DB-32FE9C168CC3}" dt="2024-07-24T12:25:01.103" v="498" actId="20577"/>
          <ac:spMkLst>
            <pc:docMk/>
            <pc:sldMk cId="3371421586" sldId="328"/>
            <ac:spMk id="4" creationId="{B1F22B0A-73DE-A237-6236-D7C4CA371A42}"/>
          </ac:spMkLst>
        </pc:spChg>
        <pc:spChg chg="add del">
          <ac:chgData name="Ischanka, Eugen" userId="e4e12248-2210-4459-89e3-acb2dd10c338" providerId="ADAL" clId="{2DE7A1B9-D139-41ED-B0DB-32FE9C168CC3}" dt="2024-07-24T12:23:48.483" v="215" actId="478"/>
          <ac:spMkLst>
            <pc:docMk/>
            <pc:sldMk cId="3371421586" sldId="328"/>
            <ac:spMk id="5" creationId="{8BBBCF2E-2704-E618-81C3-CAE7B2A60E0E}"/>
          </ac:spMkLst>
        </pc:spChg>
        <pc:spChg chg="mod">
          <ac:chgData name="Ischanka, Eugen" userId="e4e12248-2210-4459-89e3-acb2dd10c338" providerId="ADAL" clId="{2DE7A1B9-D139-41ED-B0DB-32FE9C168CC3}" dt="2024-07-24T12:22:49.993" v="73" actId="20577"/>
          <ac:spMkLst>
            <pc:docMk/>
            <pc:sldMk cId="3371421586" sldId="328"/>
            <ac:spMk id="10" creationId="{B53E254A-21D6-8CA6-5B42-5A255BD3A71C}"/>
          </ac:spMkLst>
        </pc:spChg>
      </pc:sldChg>
      <pc:sldChg chg="addSp delSp modSp mod chgLayout">
        <pc:chgData name="Ischanka, Eugen" userId="e4e12248-2210-4459-89e3-acb2dd10c338" providerId="ADAL" clId="{2DE7A1B9-D139-41ED-B0DB-32FE9C168CC3}" dt="2024-07-24T13:40:31.703" v="8603" actId="20577"/>
        <pc:sldMkLst>
          <pc:docMk/>
          <pc:sldMk cId="3298816911" sldId="420"/>
        </pc:sldMkLst>
        <pc:spChg chg="add mod">
          <ac:chgData name="Ischanka, Eugen" userId="e4e12248-2210-4459-89e3-acb2dd10c338" providerId="ADAL" clId="{2DE7A1B9-D139-41ED-B0DB-32FE9C168CC3}" dt="2024-07-24T13:10:55.982" v="4877"/>
          <ac:spMkLst>
            <pc:docMk/>
            <pc:sldMk cId="3298816911" sldId="420"/>
            <ac:spMk id="2" creationId="{CA52F41F-6272-B099-7773-CB54E54E9944}"/>
          </ac:spMkLst>
        </pc:spChg>
        <pc:spChg chg="mod ord">
          <ac:chgData name="Ischanka, Eugen" userId="e4e12248-2210-4459-89e3-acb2dd10c338" providerId="ADAL" clId="{2DE7A1B9-D139-41ED-B0DB-32FE9C168CC3}" dt="2024-07-24T13:40:31.703" v="8603" actId="20577"/>
          <ac:spMkLst>
            <pc:docMk/>
            <pc:sldMk cId="3298816911" sldId="420"/>
            <ac:spMk id="3" creationId="{B5181DB0-2B58-0113-7830-B041253D70A6}"/>
          </ac:spMkLst>
        </pc:spChg>
        <pc:spChg chg="mod ord">
          <ac:chgData name="Ischanka, Eugen" userId="e4e12248-2210-4459-89e3-acb2dd10c338" providerId="ADAL" clId="{2DE7A1B9-D139-41ED-B0DB-32FE9C168CC3}" dt="2024-07-24T13:19:09.202" v="6209" actId="700"/>
          <ac:spMkLst>
            <pc:docMk/>
            <pc:sldMk cId="3298816911" sldId="420"/>
            <ac:spMk id="4" creationId="{EC4D51B0-7A2D-8FE6-B170-2824A865A549}"/>
          </ac:spMkLst>
        </pc:spChg>
        <pc:spChg chg="add mod ord">
          <ac:chgData name="Ischanka, Eugen" userId="e4e12248-2210-4459-89e3-acb2dd10c338" providerId="ADAL" clId="{2DE7A1B9-D139-41ED-B0DB-32FE9C168CC3}" dt="2024-07-24T13:19:35.642" v="6278" actId="167"/>
          <ac:spMkLst>
            <pc:docMk/>
            <pc:sldMk cId="3298816911" sldId="420"/>
            <ac:spMk id="5" creationId="{47C48E4B-F498-A064-D74E-2DC8DFA4F9BF}"/>
          </ac:spMkLst>
        </pc:spChg>
        <pc:spChg chg="mod ord">
          <ac:chgData name="Ischanka, Eugen" userId="e4e12248-2210-4459-89e3-acb2dd10c338" providerId="ADAL" clId="{2DE7A1B9-D139-41ED-B0DB-32FE9C168CC3}" dt="2024-07-24T13:19:29.912" v="6277" actId="1076"/>
          <ac:spMkLst>
            <pc:docMk/>
            <pc:sldMk cId="3298816911" sldId="420"/>
            <ac:spMk id="20" creationId="{47D0D074-361D-FBC8-7FA1-C2D313A86D28}"/>
          </ac:spMkLst>
        </pc:spChg>
        <pc:spChg chg="del">
          <ac:chgData name="Ischanka, Eugen" userId="e4e12248-2210-4459-89e3-acb2dd10c338" providerId="ADAL" clId="{2DE7A1B9-D139-41ED-B0DB-32FE9C168CC3}" dt="2024-07-24T13:19:09.202" v="6209" actId="700"/>
          <ac:spMkLst>
            <pc:docMk/>
            <pc:sldMk cId="3298816911" sldId="420"/>
            <ac:spMk id="61" creationId="{E92EA52C-9DB4-0D2D-7457-0DBC1C3D2993}"/>
          </ac:spMkLst>
        </pc:spChg>
      </pc:sldChg>
      <pc:sldChg chg="addSp delSp modSp mod chgLayout">
        <pc:chgData name="Ischanka, Eugen" userId="e4e12248-2210-4459-89e3-acb2dd10c338" providerId="ADAL" clId="{2DE7A1B9-D139-41ED-B0DB-32FE9C168CC3}" dt="2024-07-24T13:40:24.473" v="8597" actId="20577"/>
        <pc:sldMkLst>
          <pc:docMk/>
          <pc:sldMk cId="2147757826" sldId="422"/>
        </pc:sldMkLst>
        <pc:spChg chg="add mod">
          <ac:chgData name="Ischanka, Eugen" userId="e4e12248-2210-4459-89e3-acb2dd10c338" providerId="ADAL" clId="{2DE7A1B9-D139-41ED-B0DB-32FE9C168CC3}" dt="2024-07-24T13:18:18.357" v="6043" actId="1076"/>
          <ac:spMkLst>
            <pc:docMk/>
            <pc:sldMk cId="2147757826" sldId="422"/>
            <ac:spMk id="2" creationId="{FFA4FA6C-A705-A2C7-497D-75F9649512FF}"/>
          </ac:spMkLst>
        </pc:spChg>
        <pc:spChg chg="mod ord">
          <ac:chgData name="Ischanka, Eugen" userId="e4e12248-2210-4459-89e3-acb2dd10c338" providerId="ADAL" clId="{2DE7A1B9-D139-41ED-B0DB-32FE9C168CC3}" dt="2024-07-24T13:40:24.473" v="8597" actId="20577"/>
          <ac:spMkLst>
            <pc:docMk/>
            <pc:sldMk cId="2147757826" sldId="422"/>
            <ac:spMk id="3" creationId="{7D5E716F-27C5-C1EE-976D-A729707EEE2D}"/>
          </ac:spMkLst>
        </pc:spChg>
        <pc:spChg chg="mod ord">
          <ac:chgData name="Ischanka, Eugen" userId="e4e12248-2210-4459-89e3-acb2dd10c338" providerId="ADAL" clId="{2DE7A1B9-D139-41ED-B0DB-32FE9C168CC3}" dt="2024-07-24T13:17:55.202" v="5939" actId="700"/>
          <ac:spMkLst>
            <pc:docMk/>
            <pc:sldMk cId="2147757826" sldId="422"/>
            <ac:spMk id="4" creationId="{A9B80F58-A5AC-C116-E6E4-72DDB8ABC855}"/>
          </ac:spMkLst>
        </pc:spChg>
        <pc:spChg chg="add del mod">
          <ac:chgData name="Ischanka, Eugen" userId="e4e12248-2210-4459-89e3-acb2dd10c338" providerId="ADAL" clId="{2DE7A1B9-D139-41ED-B0DB-32FE9C168CC3}" dt="2024-07-24T13:14:17.095" v="5388" actId="478"/>
          <ac:spMkLst>
            <pc:docMk/>
            <pc:sldMk cId="2147757826" sldId="422"/>
            <ac:spMk id="5" creationId="{8C6E38E0-80E9-9BCC-200F-BAE38CCA1608}"/>
          </ac:spMkLst>
        </pc:spChg>
        <pc:spChg chg="add mod">
          <ac:chgData name="Ischanka, Eugen" userId="e4e12248-2210-4459-89e3-acb2dd10c338" providerId="ADAL" clId="{2DE7A1B9-D139-41ED-B0DB-32FE9C168CC3}" dt="2024-07-24T13:14:20.532" v="5389"/>
          <ac:spMkLst>
            <pc:docMk/>
            <pc:sldMk cId="2147757826" sldId="422"/>
            <ac:spMk id="6" creationId="{AA7A9873-4E25-8003-6F83-B1C56819447C}"/>
          </ac:spMkLst>
        </pc:spChg>
        <pc:spChg chg="add mod ord">
          <ac:chgData name="Ischanka, Eugen" userId="e4e12248-2210-4459-89e3-acb2dd10c338" providerId="ADAL" clId="{2DE7A1B9-D139-41ED-B0DB-32FE9C168CC3}" dt="2024-07-24T13:17:55.202" v="5939" actId="700"/>
          <ac:spMkLst>
            <pc:docMk/>
            <pc:sldMk cId="2147757826" sldId="422"/>
            <ac:spMk id="7" creationId="{6E12D626-03CD-A4A7-FACB-991DE0A7DF25}"/>
          </ac:spMkLst>
        </pc:spChg>
        <pc:spChg chg="del">
          <ac:chgData name="Ischanka, Eugen" userId="e4e12248-2210-4459-89e3-acb2dd10c338" providerId="ADAL" clId="{2DE7A1B9-D139-41ED-B0DB-32FE9C168CC3}" dt="2024-07-24T13:17:55.202" v="5939" actId="700"/>
          <ac:spMkLst>
            <pc:docMk/>
            <pc:sldMk cId="2147757826" sldId="422"/>
            <ac:spMk id="19" creationId="{022234DA-7CEA-AD1D-6D19-24C8012891B8}"/>
          </ac:spMkLst>
        </pc:spChg>
        <pc:spChg chg="mod ord">
          <ac:chgData name="Ischanka, Eugen" userId="e4e12248-2210-4459-89e3-acb2dd10c338" providerId="ADAL" clId="{2DE7A1B9-D139-41ED-B0DB-32FE9C168CC3}" dt="2024-07-24T13:18:15.552" v="6042" actId="20577"/>
          <ac:spMkLst>
            <pc:docMk/>
            <pc:sldMk cId="2147757826" sldId="422"/>
            <ac:spMk id="20" creationId="{C6DD26B4-C764-7A77-F53F-2C873796560C}"/>
          </ac:spMkLst>
        </pc:spChg>
      </pc:sldChg>
      <pc:sldChg chg="addSp delSp modSp mod chgLayout">
        <pc:chgData name="Ischanka, Eugen" userId="e4e12248-2210-4459-89e3-acb2dd10c338" providerId="ADAL" clId="{2DE7A1B9-D139-41ED-B0DB-32FE9C168CC3}" dt="2024-07-25T06:58:49.035" v="10331" actId="20577"/>
        <pc:sldMkLst>
          <pc:docMk/>
          <pc:sldMk cId="2881209425" sldId="431"/>
        </pc:sldMkLst>
        <pc:spChg chg="add mod">
          <ac:chgData name="Ischanka, Eugen" userId="e4e12248-2210-4459-89e3-acb2dd10c338" providerId="ADAL" clId="{2DE7A1B9-D139-41ED-B0DB-32FE9C168CC3}" dt="2024-07-24T13:13:27.272" v="5222" actId="14100"/>
          <ac:spMkLst>
            <pc:docMk/>
            <pc:sldMk cId="2881209425" sldId="431"/>
            <ac:spMk id="2" creationId="{5308EA30-73EC-088A-D292-BCF4CFD07297}"/>
          </ac:spMkLst>
        </pc:spChg>
        <pc:spChg chg="mod ord">
          <ac:chgData name="Ischanka, Eugen" userId="e4e12248-2210-4459-89e3-acb2dd10c338" providerId="ADAL" clId="{2DE7A1B9-D139-41ED-B0DB-32FE9C168CC3}" dt="2024-07-24T13:40:27.329" v="8600" actId="20577"/>
          <ac:spMkLst>
            <pc:docMk/>
            <pc:sldMk cId="2881209425" sldId="431"/>
            <ac:spMk id="3" creationId="{B5181DB0-2B58-0113-7830-B041253D70A6}"/>
          </ac:spMkLst>
        </pc:spChg>
        <pc:spChg chg="mod ord">
          <ac:chgData name="Ischanka, Eugen" userId="e4e12248-2210-4459-89e3-acb2dd10c338" providerId="ADAL" clId="{2DE7A1B9-D139-41ED-B0DB-32FE9C168CC3}" dt="2024-07-24T13:18:46.102" v="6143" actId="700"/>
          <ac:spMkLst>
            <pc:docMk/>
            <pc:sldMk cId="2881209425" sldId="431"/>
            <ac:spMk id="4" creationId="{EC4D51B0-7A2D-8FE6-B170-2824A865A549}"/>
          </ac:spMkLst>
        </pc:spChg>
        <pc:spChg chg="add mod ord">
          <ac:chgData name="Ischanka, Eugen" userId="e4e12248-2210-4459-89e3-acb2dd10c338" providerId="ADAL" clId="{2DE7A1B9-D139-41ED-B0DB-32FE9C168CC3}" dt="2024-07-24T13:19:48.992" v="6312" actId="14100"/>
          <ac:spMkLst>
            <pc:docMk/>
            <pc:sldMk cId="2881209425" sldId="431"/>
            <ac:spMk id="5" creationId="{445F9252-0140-4B96-AF5E-19E99BC039DE}"/>
          </ac:spMkLst>
        </pc:spChg>
        <pc:spChg chg="mod ord">
          <ac:chgData name="Ischanka, Eugen" userId="e4e12248-2210-4459-89e3-acb2dd10c338" providerId="ADAL" clId="{2DE7A1B9-D139-41ED-B0DB-32FE9C168CC3}" dt="2024-07-24T13:18:46.102" v="6143" actId="700"/>
          <ac:spMkLst>
            <pc:docMk/>
            <pc:sldMk cId="2881209425" sldId="431"/>
            <ac:spMk id="17" creationId="{161E6A53-50CE-8E37-4DC3-E8F3D2FF4B6F}"/>
          </ac:spMkLst>
        </pc:spChg>
        <pc:spChg chg="del">
          <ac:chgData name="Ischanka, Eugen" userId="e4e12248-2210-4459-89e3-acb2dd10c338" providerId="ADAL" clId="{2DE7A1B9-D139-41ED-B0DB-32FE9C168CC3}" dt="2024-07-24T13:18:46.102" v="6143" actId="700"/>
          <ac:spMkLst>
            <pc:docMk/>
            <pc:sldMk cId="2881209425" sldId="431"/>
            <ac:spMk id="35" creationId="{9F80F48A-2146-676D-07EE-01F723E9F20C}"/>
          </ac:spMkLst>
        </pc:spChg>
        <pc:graphicFrameChg chg="modGraphic">
          <ac:chgData name="Ischanka, Eugen" userId="e4e12248-2210-4459-89e3-acb2dd10c338" providerId="ADAL" clId="{2DE7A1B9-D139-41ED-B0DB-32FE9C168CC3}" dt="2024-07-24T13:12:42.732" v="5036" actId="20577"/>
          <ac:graphicFrameMkLst>
            <pc:docMk/>
            <pc:sldMk cId="2881209425" sldId="431"/>
            <ac:graphicFrameMk id="22" creationId="{7E7C8921-3C6E-55D9-B15F-4B17E9CCF381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5T06:58:49.035" v="10331" actId="20577"/>
          <ac:graphicFrameMkLst>
            <pc:docMk/>
            <pc:sldMk cId="2881209425" sldId="431"/>
            <ac:graphicFrameMk id="23" creationId="{3947BD09-CC15-6763-DD87-5F791F914FC8}"/>
          </ac:graphicFrameMkLst>
        </pc:graphicFrameChg>
      </pc:sldChg>
      <pc:sldChg chg="del ord">
        <pc:chgData name="Ischanka, Eugen" userId="e4e12248-2210-4459-89e3-acb2dd10c338" providerId="ADAL" clId="{2DE7A1B9-D139-41ED-B0DB-32FE9C168CC3}" dt="2024-07-24T12:54:17.131" v="2949" actId="47"/>
        <pc:sldMkLst>
          <pc:docMk/>
          <pc:sldMk cId="4110601905" sldId="432"/>
        </pc:sldMkLst>
      </pc:sldChg>
      <pc:sldChg chg="del">
        <pc:chgData name="Ischanka, Eugen" userId="e4e12248-2210-4459-89e3-acb2dd10c338" providerId="ADAL" clId="{2DE7A1B9-D139-41ED-B0DB-32FE9C168CC3}" dt="2024-07-24T13:14:53.592" v="5539" actId="47"/>
        <pc:sldMkLst>
          <pc:docMk/>
          <pc:sldMk cId="1084793732" sldId="433"/>
        </pc:sldMkLst>
      </pc:sldChg>
      <pc:sldChg chg="del">
        <pc:chgData name="Ischanka, Eugen" userId="e4e12248-2210-4459-89e3-acb2dd10c338" providerId="ADAL" clId="{2DE7A1B9-D139-41ED-B0DB-32FE9C168CC3}" dt="2024-07-24T13:14:59.682" v="5572" actId="47"/>
        <pc:sldMkLst>
          <pc:docMk/>
          <pc:sldMk cId="1570723146" sldId="434"/>
        </pc:sldMkLst>
      </pc:sldChg>
      <pc:sldChg chg="del">
        <pc:chgData name="Ischanka, Eugen" userId="e4e12248-2210-4459-89e3-acb2dd10c338" providerId="ADAL" clId="{2DE7A1B9-D139-41ED-B0DB-32FE9C168CC3}" dt="2024-07-24T13:15:03.357" v="5573" actId="47"/>
        <pc:sldMkLst>
          <pc:docMk/>
          <pc:sldMk cId="1903217050" sldId="435"/>
        </pc:sldMkLst>
      </pc:sldChg>
      <pc:sldChg chg="del">
        <pc:chgData name="Ischanka, Eugen" userId="e4e12248-2210-4459-89e3-acb2dd10c338" providerId="ADAL" clId="{2DE7A1B9-D139-41ED-B0DB-32FE9C168CC3}" dt="2024-07-24T13:17:02.427" v="5814" actId="47"/>
        <pc:sldMkLst>
          <pc:docMk/>
          <pc:sldMk cId="2487441990" sldId="436"/>
        </pc:sldMkLst>
      </pc:sldChg>
      <pc:sldChg chg="del">
        <pc:chgData name="Ischanka, Eugen" userId="e4e12248-2210-4459-89e3-acb2dd10c338" providerId="ADAL" clId="{2DE7A1B9-D139-41ED-B0DB-32FE9C168CC3}" dt="2024-07-24T13:18:30.807" v="6076" actId="47"/>
        <pc:sldMkLst>
          <pc:docMk/>
          <pc:sldMk cId="1601485209" sldId="437"/>
        </pc:sldMkLst>
      </pc:sldChg>
      <pc:sldChg chg="del">
        <pc:chgData name="Ischanka, Eugen" userId="e4e12248-2210-4459-89e3-acb2dd10c338" providerId="ADAL" clId="{2DE7A1B9-D139-41ED-B0DB-32FE9C168CC3}" dt="2024-07-24T13:18:34.888" v="6109" actId="47"/>
        <pc:sldMkLst>
          <pc:docMk/>
          <pc:sldMk cId="3877413060" sldId="438"/>
        </pc:sldMkLst>
      </pc:sldChg>
      <pc:sldChg chg="del">
        <pc:chgData name="Ischanka, Eugen" userId="e4e12248-2210-4459-89e3-acb2dd10c338" providerId="ADAL" clId="{2DE7A1B9-D139-41ED-B0DB-32FE9C168CC3}" dt="2024-07-24T13:18:35.787" v="6110" actId="47"/>
        <pc:sldMkLst>
          <pc:docMk/>
          <pc:sldMk cId="896755276" sldId="439"/>
        </pc:sldMkLst>
      </pc:sldChg>
      <pc:sldChg chg="del">
        <pc:chgData name="Ischanka, Eugen" userId="e4e12248-2210-4459-89e3-acb2dd10c338" providerId="ADAL" clId="{2DE7A1B9-D139-41ED-B0DB-32FE9C168CC3}" dt="2024-07-24T12:28:58.373" v="1172" actId="47"/>
        <pc:sldMkLst>
          <pc:docMk/>
          <pc:sldMk cId="3897732735" sldId="440"/>
        </pc:sldMkLst>
      </pc:sldChg>
      <pc:sldChg chg="del">
        <pc:chgData name="Ischanka, Eugen" userId="e4e12248-2210-4459-89e3-acb2dd10c338" providerId="ADAL" clId="{2DE7A1B9-D139-41ED-B0DB-32FE9C168CC3}" dt="2024-07-24T12:33:08.571" v="1712" actId="47"/>
        <pc:sldMkLst>
          <pc:docMk/>
          <pc:sldMk cId="2218634339" sldId="441"/>
        </pc:sldMkLst>
      </pc:sldChg>
      <pc:sldChg chg="del">
        <pc:chgData name="Ischanka, Eugen" userId="e4e12248-2210-4459-89e3-acb2dd10c338" providerId="ADAL" clId="{2DE7A1B9-D139-41ED-B0DB-32FE9C168CC3}" dt="2024-07-24T12:39:18.084" v="2360" actId="47"/>
        <pc:sldMkLst>
          <pc:docMk/>
          <pc:sldMk cId="2408683364" sldId="442"/>
        </pc:sldMkLst>
      </pc:sldChg>
      <pc:sldChg chg="addSp delSp modSp add del mod">
        <pc:chgData name="Ischanka, Eugen" userId="e4e12248-2210-4459-89e3-acb2dd10c338" providerId="ADAL" clId="{2DE7A1B9-D139-41ED-B0DB-32FE9C168CC3}" dt="2024-07-24T12:28:04.363" v="882" actId="47"/>
        <pc:sldMkLst>
          <pc:docMk/>
          <pc:sldMk cId="1241667250" sldId="704"/>
        </pc:sldMkLst>
        <pc:spChg chg="add del mod">
          <ac:chgData name="Ischanka, Eugen" userId="e4e12248-2210-4459-89e3-acb2dd10c338" providerId="ADAL" clId="{2DE7A1B9-D139-41ED-B0DB-32FE9C168CC3}" dt="2024-07-24T12:26:09.530" v="634" actId="478"/>
          <ac:spMkLst>
            <pc:docMk/>
            <pc:sldMk cId="1241667250" sldId="704"/>
            <ac:spMk id="4" creationId="{9002EF27-26AE-250F-F358-653C0EB7D08E}"/>
          </ac:spMkLst>
        </pc:spChg>
        <pc:spChg chg="del">
          <ac:chgData name="Ischanka, Eugen" userId="e4e12248-2210-4459-89e3-acb2dd10c338" providerId="ADAL" clId="{2DE7A1B9-D139-41ED-B0DB-32FE9C168CC3}" dt="2024-07-24T12:26:08.013" v="633" actId="478"/>
          <ac:spMkLst>
            <pc:docMk/>
            <pc:sldMk cId="1241667250" sldId="704"/>
            <ac:spMk id="18" creationId="{1612F1A3-06A8-A774-4585-598D19424759}"/>
          </ac:spMkLst>
        </pc:spChg>
      </pc:sldChg>
      <pc:sldChg chg="addSp delSp modSp new mod">
        <pc:chgData name="Ischanka, Eugen" userId="e4e12248-2210-4459-89e3-acb2dd10c338" providerId="ADAL" clId="{2DE7A1B9-D139-41ED-B0DB-32FE9C168CC3}" dt="2024-07-24T12:28:47.533" v="1106" actId="688"/>
        <pc:sldMkLst>
          <pc:docMk/>
          <pc:sldMk cId="2127378480" sldId="705"/>
        </pc:sldMkLst>
        <pc:spChg chg="del">
          <ac:chgData name="Ischanka, Eugen" userId="e4e12248-2210-4459-89e3-acb2dd10c338" providerId="ADAL" clId="{2DE7A1B9-D139-41ED-B0DB-32FE9C168CC3}" dt="2024-07-24T12:27:06.578" v="748"/>
          <ac:spMkLst>
            <pc:docMk/>
            <pc:sldMk cId="2127378480" sldId="705"/>
            <ac:spMk id="2" creationId="{BA4B4DAD-2FCD-3DDE-5083-392C11A801DA}"/>
          </ac:spMkLst>
        </pc:spChg>
        <pc:spChg chg="mod">
          <ac:chgData name="Ischanka, Eugen" userId="e4e12248-2210-4459-89e3-acb2dd10c338" providerId="ADAL" clId="{2DE7A1B9-D139-41ED-B0DB-32FE9C168CC3}" dt="2024-07-24T12:26:56.763" v="715" actId="20577"/>
          <ac:spMkLst>
            <pc:docMk/>
            <pc:sldMk cId="2127378480" sldId="705"/>
            <ac:spMk id="3" creationId="{CDF4F5A8-80F9-0DB5-BD55-F7B0CA90B741}"/>
          </ac:spMkLst>
        </pc:spChg>
        <pc:spChg chg="mod">
          <ac:chgData name="Ischanka, Eugen" userId="e4e12248-2210-4459-89e3-acb2dd10c338" providerId="ADAL" clId="{2DE7A1B9-D139-41ED-B0DB-32FE9C168CC3}" dt="2024-07-24T12:27:21.533" v="782" actId="20577"/>
          <ac:spMkLst>
            <pc:docMk/>
            <pc:sldMk cId="2127378480" sldId="705"/>
            <ac:spMk id="4" creationId="{68559456-8093-DF33-9EA2-B35195664EAF}"/>
          </ac:spMkLst>
        </pc:spChg>
        <pc:spChg chg="add mod">
          <ac:chgData name="Ischanka, Eugen" userId="e4e12248-2210-4459-89e3-acb2dd10c338" providerId="ADAL" clId="{2DE7A1B9-D139-41ED-B0DB-32FE9C168CC3}" dt="2024-07-24T12:27:44.293" v="849" actId="2711"/>
          <ac:spMkLst>
            <pc:docMk/>
            <pc:sldMk cId="2127378480" sldId="705"/>
            <ac:spMk id="5" creationId="{D1D7EF1A-75AB-FB3A-C6F0-500051B204D9}"/>
          </ac:spMkLst>
        </pc:spChg>
        <pc:spChg chg="add mod">
          <ac:chgData name="Ischanka, Eugen" userId="e4e12248-2210-4459-89e3-acb2dd10c338" providerId="ADAL" clId="{2DE7A1B9-D139-41ED-B0DB-32FE9C168CC3}" dt="2024-07-24T12:28:47.533" v="1106" actId="688"/>
          <ac:spMkLst>
            <pc:docMk/>
            <pc:sldMk cId="2127378480" sldId="705"/>
            <ac:spMk id="6" creationId="{59DE3BB6-FFAE-9DD5-090E-B6F0438CCE80}"/>
          </ac:spMkLst>
        </pc:spChg>
      </pc:sldChg>
      <pc:sldChg chg="new del">
        <pc:chgData name="Ischanka, Eugen" userId="e4e12248-2210-4459-89e3-acb2dd10c338" providerId="ADAL" clId="{2DE7A1B9-D139-41ED-B0DB-32FE9C168CC3}" dt="2024-07-24T12:26:36.638" v="668" actId="680"/>
        <pc:sldMkLst>
          <pc:docMk/>
          <pc:sldMk cId="4237714348" sldId="705"/>
        </pc:sldMkLst>
      </pc:sldChg>
      <pc:sldChg chg="addSp delSp modSp new mod">
        <pc:chgData name="Ischanka, Eugen" userId="e4e12248-2210-4459-89e3-acb2dd10c338" providerId="ADAL" clId="{2DE7A1B9-D139-41ED-B0DB-32FE9C168CC3}" dt="2024-07-24T13:55:08.634" v="9474" actId="20577"/>
        <pc:sldMkLst>
          <pc:docMk/>
          <pc:sldMk cId="2358712186" sldId="706"/>
        </pc:sldMkLst>
        <pc:spChg chg="mod">
          <ac:chgData name="Ischanka, Eugen" userId="e4e12248-2210-4459-89e3-acb2dd10c338" providerId="ADAL" clId="{2DE7A1B9-D139-41ED-B0DB-32FE9C168CC3}" dt="2024-07-24T13:55:08.634" v="9474" actId="20577"/>
          <ac:spMkLst>
            <pc:docMk/>
            <pc:sldMk cId="2358712186" sldId="706"/>
            <ac:spMk id="2" creationId="{812BF7A4-431B-A974-B8BF-6CFA9DA49F69}"/>
          </ac:spMkLst>
        </pc:spChg>
        <pc:spChg chg="mod">
          <ac:chgData name="Ischanka, Eugen" userId="e4e12248-2210-4459-89e3-acb2dd10c338" providerId="ADAL" clId="{2DE7A1B9-D139-41ED-B0DB-32FE9C168CC3}" dt="2024-07-24T12:31:50.178" v="1443" actId="338"/>
          <ac:spMkLst>
            <pc:docMk/>
            <pc:sldMk cId="2358712186" sldId="706"/>
            <ac:spMk id="3" creationId="{DCC09AA1-A7E6-2BDE-78FF-9506CED9DF34}"/>
          </ac:spMkLst>
        </pc:spChg>
        <pc:spChg chg="mod">
          <ac:chgData name="Ischanka, Eugen" userId="e4e12248-2210-4459-89e3-acb2dd10c338" providerId="ADAL" clId="{2DE7A1B9-D139-41ED-B0DB-32FE9C168CC3}" dt="2024-07-24T12:31:50.178" v="1443" actId="338"/>
          <ac:spMkLst>
            <pc:docMk/>
            <pc:sldMk cId="2358712186" sldId="706"/>
            <ac:spMk id="4" creationId="{30DF2780-7420-ACE7-6EB0-BC0C1BA93689}"/>
          </ac:spMkLst>
        </pc:spChg>
        <pc:spChg chg="mod">
          <ac:chgData name="Ischanka, Eugen" userId="e4e12248-2210-4459-89e3-acb2dd10c338" providerId="ADAL" clId="{2DE7A1B9-D139-41ED-B0DB-32FE9C168CC3}" dt="2024-07-24T12:31:50.178" v="1443" actId="338"/>
          <ac:spMkLst>
            <pc:docMk/>
            <pc:sldMk cId="2358712186" sldId="706"/>
            <ac:spMk id="7" creationId="{234B0B21-CEC7-A7CE-A906-F4EA6800A3C1}"/>
          </ac:spMkLst>
        </pc:spChg>
        <pc:grpChg chg="mod">
          <ac:chgData name="Ischanka, Eugen" userId="e4e12248-2210-4459-89e3-acb2dd10c338" providerId="ADAL" clId="{2DE7A1B9-D139-41ED-B0DB-32FE9C168CC3}" dt="2024-07-24T12:31:50.178" v="1443" actId="338"/>
          <ac:grpSpMkLst>
            <pc:docMk/>
            <pc:sldMk cId="2358712186" sldId="706"/>
            <ac:grpSpMk id="1" creationId="{00000000-0000-0000-0000-000000000000}"/>
          </ac:grpSpMkLst>
        </pc:grpChg>
        <pc:grpChg chg="mod">
          <ac:chgData name="Ischanka, Eugen" userId="e4e12248-2210-4459-89e3-acb2dd10c338" providerId="ADAL" clId="{2DE7A1B9-D139-41ED-B0DB-32FE9C168CC3}" dt="2024-07-24T12:31:50.178" v="1443" actId="338"/>
          <ac:grpSpMkLst>
            <pc:docMk/>
            <pc:sldMk cId="2358712186" sldId="706"/>
            <ac:grpSpMk id="6" creationId="{1ADA85E7-1D25-36F8-FF65-9C4DAF97B3C0}"/>
          </ac:grpSpMkLst>
        </pc:grpChg>
        <pc:picChg chg="add del mod modCrop">
          <ac:chgData name="Ischanka, Eugen" userId="e4e12248-2210-4459-89e3-acb2dd10c338" providerId="ADAL" clId="{2DE7A1B9-D139-41ED-B0DB-32FE9C168CC3}" dt="2024-07-24T12:32:52.373" v="1679" actId="1076"/>
          <ac:picMkLst>
            <pc:docMk/>
            <pc:sldMk cId="2358712186" sldId="706"/>
            <ac:picMk id="5" creationId="{7A39CD9A-1749-48EA-F3F6-F28F5C993B61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29" creationId="{ADE6947A-9515-C210-0ECF-CD80BF29B85F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0" creationId="{6A7CC057-5554-C683-B6A1-390CB4B1598B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1" creationId="{947CD096-3C82-3D8E-02BF-176C4076BA90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2" creationId="{BAE822D8-0215-C5D0-E9FA-4EA35D85B164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3" creationId="{8CDACE32-7B0A-E7EE-89A5-DB1E57FB2459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4" creationId="{6189233B-4D33-6288-E856-6B5D62970177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5" creationId="{66D7D9A6-4E4A-0E33-BB27-9E48A9FD6295}"/>
          </ac:picMkLst>
        </pc:picChg>
      </pc:sldChg>
      <pc:sldChg chg="addSp delSp modSp new mod">
        <pc:chgData name="Ischanka, Eugen" userId="e4e12248-2210-4459-89e3-acb2dd10c338" providerId="ADAL" clId="{2DE7A1B9-D139-41ED-B0DB-32FE9C168CC3}" dt="2024-07-24T12:37:30.383" v="2260" actId="14100"/>
        <pc:sldMkLst>
          <pc:docMk/>
          <pc:sldMk cId="4164985557" sldId="707"/>
        </pc:sldMkLst>
        <pc:spChg chg="del">
          <ac:chgData name="Ischanka, Eugen" userId="e4e12248-2210-4459-89e3-acb2dd10c338" providerId="ADAL" clId="{2DE7A1B9-D139-41ED-B0DB-32FE9C168CC3}" dt="2024-07-24T12:33:28.524" v="1746"/>
          <ac:spMkLst>
            <pc:docMk/>
            <pc:sldMk cId="4164985557" sldId="707"/>
            <ac:spMk id="2" creationId="{F982C048-BBD6-136E-9999-EA96D91980BA}"/>
          </ac:spMkLst>
        </pc:spChg>
        <pc:spChg chg="mod">
          <ac:chgData name="Ischanka, Eugen" userId="e4e12248-2210-4459-89e3-acb2dd10c338" providerId="ADAL" clId="{2DE7A1B9-D139-41ED-B0DB-32FE9C168CC3}" dt="2024-07-24T12:34:28.143" v="1787" actId="20577"/>
          <ac:spMkLst>
            <pc:docMk/>
            <pc:sldMk cId="4164985557" sldId="707"/>
            <ac:spMk id="3" creationId="{85088B95-670B-0300-AE13-45CC96CDF82A}"/>
          </ac:spMkLst>
        </pc:spChg>
        <pc:spChg chg="mod">
          <ac:chgData name="Ischanka, Eugen" userId="e4e12248-2210-4459-89e3-acb2dd10c338" providerId="ADAL" clId="{2DE7A1B9-D139-41ED-B0DB-32FE9C168CC3}" dt="2024-07-24T12:34:35.473" v="1788"/>
          <ac:spMkLst>
            <pc:docMk/>
            <pc:sldMk cId="4164985557" sldId="707"/>
            <ac:spMk id="4" creationId="{ED202839-4BF5-11D1-26B0-D9808296FC0A}"/>
          </ac:spMkLst>
        </pc:spChg>
        <pc:spChg chg="add mod">
          <ac:chgData name="Ischanka, Eugen" userId="e4e12248-2210-4459-89e3-acb2dd10c338" providerId="ADAL" clId="{2DE7A1B9-D139-41ED-B0DB-32FE9C168CC3}" dt="2024-07-24T12:35:01.884" v="1890" actId="14100"/>
          <ac:spMkLst>
            <pc:docMk/>
            <pc:sldMk cId="4164985557" sldId="707"/>
            <ac:spMk id="6" creationId="{AA8C2D20-7142-B464-9055-0B2E52B05CFC}"/>
          </ac:spMkLst>
        </pc:spChg>
        <pc:graphicFrameChg chg="add mod">
          <ac:chgData name="Ischanka, Eugen" userId="e4e12248-2210-4459-89e3-acb2dd10c338" providerId="ADAL" clId="{2DE7A1B9-D139-41ED-B0DB-32FE9C168CC3}" dt="2024-07-24T12:33:28.524" v="1746"/>
          <ac:graphicFrameMkLst>
            <pc:docMk/>
            <pc:sldMk cId="4164985557" sldId="707"/>
            <ac:graphicFrameMk id="5" creationId="{A5E33BD7-B56F-44DA-71F7-58E50054D7A5}"/>
          </ac:graphicFrameMkLst>
        </pc:graphicFrameChg>
        <pc:picChg chg="add del mod">
          <ac:chgData name="Ischanka, Eugen" userId="e4e12248-2210-4459-89e3-acb2dd10c338" providerId="ADAL" clId="{2DE7A1B9-D139-41ED-B0DB-32FE9C168CC3}" dt="2024-07-24T12:36:30.374" v="2126" actId="478"/>
          <ac:picMkLst>
            <pc:docMk/>
            <pc:sldMk cId="4164985557" sldId="707"/>
            <ac:picMk id="2050" creationId="{7D572AE6-7B64-D696-A0FF-EF02C6546A65}"/>
          </ac:picMkLst>
        </pc:picChg>
        <pc:picChg chg="add mod">
          <ac:chgData name="Ischanka, Eugen" userId="e4e12248-2210-4459-89e3-acb2dd10c338" providerId="ADAL" clId="{2DE7A1B9-D139-41ED-B0DB-32FE9C168CC3}" dt="2024-07-24T12:37:30.383" v="2260" actId="14100"/>
          <ac:picMkLst>
            <pc:docMk/>
            <pc:sldMk cId="4164985557" sldId="707"/>
            <ac:picMk id="2052" creationId="{66913C29-822D-1927-ED48-AA206C3B80A8}"/>
          </ac:picMkLst>
        </pc:picChg>
      </pc:sldChg>
      <pc:sldChg chg="addSp delSp modSp new mod chgLayout">
        <pc:chgData name="Ischanka, Eugen" userId="e4e12248-2210-4459-89e3-acb2dd10c338" providerId="ADAL" clId="{2DE7A1B9-D139-41ED-B0DB-32FE9C168CC3}" dt="2024-07-24T13:55:50.824" v="9540" actId="12385"/>
        <pc:sldMkLst>
          <pc:docMk/>
          <pc:sldMk cId="436235219" sldId="708"/>
        </pc:sldMkLst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2" creationId="{D273424A-4B6F-6583-2163-7CDAFEAC27C6}"/>
          </ac:spMkLst>
        </pc:spChg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3" creationId="{8FC61443-7765-CB6C-3DE1-A44503FC8B3E}"/>
          </ac:spMkLst>
        </pc:spChg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4" creationId="{C57E9E41-B8B8-66AF-42C9-553D74C41D0A}"/>
          </ac:spMkLst>
        </pc:spChg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5" creationId="{567178E6-990E-8951-749C-815E0F19BD85}"/>
          </ac:spMkLst>
        </pc:spChg>
        <pc:spChg chg="add mod ord">
          <ac:chgData name="Ischanka, Eugen" userId="e4e12248-2210-4459-89e3-acb2dd10c338" providerId="ADAL" clId="{2DE7A1B9-D139-41ED-B0DB-32FE9C168CC3}" dt="2024-07-24T12:51:30.001" v="2583" actId="20577"/>
          <ac:spMkLst>
            <pc:docMk/>
            <pc:sldMk cId="436235219" sldId="708"/>
            <ac:spMk id="6" creationId="{444DECE8-EBC0-A245-DFA6-54C88355F064}"/>
          </ac:spMkLst>
        </pc:spChg>
        <pc:spChg chg="add mod ord">
          <ac:chgData name="Ischanka, Eugen" userId="e4e12248-2210-4459-89e3-acb2dd10c338" providerId="ADAL" clId="{2DE7A1B9-D139-41ED-B0DB-32FE9C168CC3}" dt="2024-07-24T12:51:43.731" v="2616"/>
          <ac:spMkLst>
            <pc:docMk/>
            <pc:sldMk cId="436235219" sldId="708"/>
            <ac:spMk id="7" creationId="{2BD6B981-8E5B-C521-6D20-E9EE13510356}"/>
          </ac:spMkLst>
        </pc:spChg>
        <pc:spChg chg="add del mod ord">
          <ac:chgData name="Ischanka, Eugen" userId="e4e12248-2210-4459-89e3-acb2dd10c338" providerId="ADAL" clId="{2DE7A1B9-D139-41ED-B0DB-32FE9C168CC3}" dt="2024-07-24T12:39:52.094" v="2429" actId="478"/>
          <ac:spMkLst>
            <pc:docMk/>
            <pc:sldMk cId="436235219" sldId="708"/>
            <ac:spMk id="8" creationId="{FA79D6AB-88D7-88E6-1231-50FBDB7F5959}"/>
          </ac:spMkLst>
        </pc:spChg>
        <pc:spChg chg="add mod ord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9" creationId="{FBBEA80C-351F-C5BA-88B9-76C6992B91E6}"/>
          </ac:spMkLst>
        </pc:spChg>
        <pc:spChg chg="add mod">
          <ac:chgData name="Ischanka, Eugen" userId="e4e12248-2210-4459-89e3-acb2dd10c338" providerId="ADAL" clId="{2DE7A1B9-D139-41ED-B0DB-32FE9C168CC3}" dt="2024-07-24T12:52:08.231" v="2681"/>
          <ac:spMkLst>
            <pc:docMk/>
            <pc:sldMk cId="436235219" sldId="708"/>
            <ac:spMk id="11" creationId="{FA71FD00-786E-874A-F8CA-2293B36D59D6}"/>
          </ac:spMkLst>
        </pc:spChg>
        <pc:spChg chg="add mod">
          <ac:chgData name="Ischanka, Eugen" userId="e4e12248-2210-4459-89e3-acb2dd10c338" providerId="ADAL" clId="{2DE7A1B9-D139-41ED-B0DB-32FE9C168CC3}" dt="2024-07-24T12:52:42.811" v="2749"/>
          <ac:spMkLst>
            <pc:docMk/>
            <pc:sldMk cId="436235219" sldId="708"/>
            <ac:spMk id="13" creationId="{D213D84A-74B2-E144-B9FD-DFE65F7ACF61}"/>
          </ac:spMkLst>
        </pc:spChg>
        <pc:spChg chg="add del mod">
          <ac:chgData name="Ischanka, Eugen" userId="e4e12248-2210-4459-89e3-acb2dd10c338" providerId="ADAL" clId="{2DE7A1B9-D139-41ED-B0DB-32FE9C168CC3}" dt="2024-07-24T12:54:11.842" v="2948" actId="478"/>
          <ac:spMkLst>
            <pc:docMk/>
            <pc:sldMk cId="436235219" sldId="708"/>
            <ac:spMk id="14" creationId="{B70DFCA8-7858-55D1-7C05-FBF4C35FBD22}"/>
          </ac:spMkLst>
        </pc:spChg>
        <pc:graphicFrameChg chg="add mod modGraphic">
          <ac:chgData name="Ischanka, Eugen" userId="e4e12248-2210-4459-89e3-acb2dd10c338" providerId="ADAL" clId="{2DE7A1B9-D139-41ED-B0DB-32FE9C168CC3}" dt="2024-07-24T13:55:22.114" v="9507" actId="12385"/>
          <ac:graphicFrameMkLst>
            <pc:docMk/>
            <pc:sldMk cId="436235219" sldId="708"/>
            <ac:graphicFrameMk id="10" creationId="{AE93E5D3-585F-F54E-1EF5-057AC3DF8FBB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5:50.824" v="9540" actId="12385"/>
          <ac:graphicFrameMkLst>
            <pc:docMk/>
            <pc:sldMk cId="436235219" sldId="708"/>
            <ac:graphicFrameMk id="12" creationId="{C67D7B0C-EFB6-C95F-218C-F5B5456CC7E7}"/>
          </ac:graphicFrameMkLst>
        </pc:graphicFrameChg>
      </pc:sldChg>
      <pc:sldChg chg="addSp delSp modSp new mod modClrScheme chgLayout">
        <pc:chgData name="Ischanka, Eugen" userId="e4e12248-2210-4459-89e3-acb2dd10c338" providerId="ADAL" clId="{2DE7A1B9-D139-41ED-B0DB-32FE9C168CC3}" dt="2024-07-24T13:06:11.432" v="4136"/>
        <pc:sldMkLst>
          <pc:docMk/>
          <pc:sldMk cId="1326935045" sldId="709"/>
        </pc:sldMkLst>
        <pc:spChg chg="del">
          <ac:chgData name="Ischanka, Eugen" userId="e4e12248-2210-4459-89e3-acb2dd10c338" providerId="ADAL" clId="{2DE7A1B9-D139-41ED-B0DB-32FE9C168CC3}" dt="2024-07-24T12:56:25.472" v="3166" actId="478"/>
          <ac:spMkLst>
            <pc:docMk/>
            <pc:sldMk cId="1326935045" sldId="709"/>
            <ac:spMk id="2" creationId="{1C6EF87A-CD95-ABF0-F0C6-14579DF67B03}"/>
          </ac:spMkLst>
        </pc:spChg>
        <pc:spChg chg="mod ord">
          <ac:chgData name="Ischanka, Eugen" userId="e4e12248-2210-4459-89e3-acb2dd10c338" providerId="ADAL" clId="{2DE7A1B9-D139-41ED-B0DB-32FE9C168CC3}" dt="2024-07-24T12:56:29.101" v="3167" actId="700"/>
          <ac:spMkLst>
            <pc:docMk/>
            <pc:sldMk cId="1326935045" sldId="709"/>
            <ac:spMk id="3" creationId="{F9D6EE92-9201-9101-D846-C5666E2032E7}"/>
          </ac:spMkLst>
        </pc:spChg>
        <pc:spChg chg="mod ord">
          <ac:chgData name="Ischanka, Eugen" userId="e4e12248-2210-4459-89e3-acb2dd10c338" providerId="ADAL" clId="{2DE7A1B9-D139-41ED-B0DB-32FE9C168CC3}" dt="2024-07-24T12:56:29.101" v="3167" actId="700"/>
          <ac:spMkLst>
            <pc:docMk/>
            <pc:sldMk cId="1326935045" sldId="709"/>
            <ac:spMk id="4" creationId="{1A8D4DDC-5066-D7BC-5A16-DF581D0955B1}"/>
          </ac:spMkLst>
        </pc:spChg>
        <pc:spChg chg="add del mod ord">
          <ac:chgData name="Ischanka, Eugen" userId="e4e12248-2210-4459-89e3-acb2dd10c338" providerId="ADAL" clId="{2DE7A1B9-D139-41ED-B0DB-32FE9C168CC3}" dt="2024-07-24T12:56:33.791" v="3200" actId="478"/>
          <ac:spMkLst>
            <pc:docMk/>
            <pc:sldMk cId="1326935045" sldId="709"/>
            <ac:spMk id="5" creationId="{431E971A-9428-C72C-7326-9B565D3928B5}"/>
          </ac:spMkLst>
        </pc:spChg>
        <pc:spChg chg="add mod ord">
          <ac:chgData name="Ischanka, Eugen" userId="e4e12248-2210-4459-89e3-acb2dd10c338" providerId="ADAL" clId="{2DE7A1B9-D139-41ED-B0DB-32FE9C168CC3}" dt="2024-07-24T12:56:37.001" v="3201" actId="14100"/>
          <ac:spMkLst>
            <pc:docMk/>
            <pc:sldMk cId="1326935045" sldId="709"/>
            <ac:spMk id="6" creationId="{D4135326-45CF-9BFA-D111-433B751B2D9F}"/>
          </ac:spMkLst>
        </pc:spChg>
        <pc:spChg chg="add del mod">
          <ac:chgData name="Ischanka, Eugen" userId="e4e12248-2210-4459-89e3-acb2dd10c338" providerId="ADAL" clId="{2DE7A1B9-D139-41ED-B0DB-32FE9C168CC3}" dt="2024-07-24T13:01:36.692" v="3346" actId="478"/>
          <ac:spMkLst>
            <pc:docMk/>
            <pc:sldMk cId="1326935045" sldId="709"/>
            <ac:spMk id="7" creationId="{AF1801FA-917C-E863-BB48-B1178B3BA468}"/>
          </ac:spMkLst>
        </pc:spChg>
        <pc:spChg chg="add del mod">
          <ac:chgData name="Ischanka, Eugen" userId="e4e12248-2210-4459-89e3-acb2dd10c338" providerId="ADAL" clId="{2DE7A1B9-D139-41ED-B0DB-32FE9C168CC3}" dt="2024-07-24T13:06:11.172" v="4135" actId="478"/>
          <ac:spMkLst>
            <pc:docMk/>
            <pc:sldMk cId="1326935045" sldId="709"/>
            <ac:spMk id="8" creationId="{36CDF442-E40C-07D2-3165-687E99DF2292}"/>
          </ac:spMkLst>
        </pc:spChg>
        <pc:spChg chg="add mod">
          <ac:chgData name="Ischanka, Eugen" userId="e4e12248-2210-4459-89e3-acb2dd10c338" providerId="ADAL" clId="{2DE7A1B9-D139-41ED-B0DB-32FE9C168CC3}" dt="2024-07-24T13:06:11.432" v="4136"/>
          <ac:spMkLst>
            <pc:docMk/>
            <pc:sldMk cId="1326935045" sldId="709"/>
            <ac:spMk id="9" creationId="{521C6029-5192-D9D1-11A5-E023459A3BE0}"/>
          </ac:spMkLst>
        </pc:spChg>
      </pc:sldChg>
      <pc:sldChg chg="addSp delSp modSp add mod">
        <pc:chgData name="Ischanka, Eugen" userId="e4e12248-2210-4459-89e3-acb2dd10c338" providerId="ADAL" clId="{2DE7A1B9-D139-41ED-B0DB-32FE9C168CC3}" dt="2024-07-24T13:06:07.637" v="4134"/>
        <pc:sldMkLst>
          <pc:docMk/>
          <pc:sldMk cId="2587820384" sldId="710"/>
        </pc:sldMkLst>
        <pc:spChg chg="add mod">
          <ac:chgData name="Ischanka, Eugen" userId="e4e12248-2210-4459-89e3-acb2dd10c338" providerId="ADAL" clId="{2DE7A1B9-D139-41ED-B0DB-32FE9C168CC3}" dt="2024-07-24T13:06:07.637" v="4134"/>
          <ac:spMkLst>
            <pc:docMk/>
            <pc:sldMk cId="2587820384" sldId="710"/>
            <ac:spMk id="2" creationId="{95E3D25B-7FA2-0614-A655-FD5B31B03C9B}"/>
          </ac:spMkLst>
        </pc:spChg>
        <pc:spChg chg="mod">
          <ac:chgData name="Ischanka, Eugen" userId="e4e12248-2210-4459-89e3-acb2dd10c338" providerId="ADAL" clId="{2DE7A1B9-D139-41ED-B0DB-32FE9C168CC3}" dt="2024-07-24T13:01:18.607" v="3279" actId="20577"/>
          <ac:spMkLst>
            <pc:docMk/>
            <pc:sldMk cId="2587820384" sldId="710"/>
            <ac:spMk id="3" creationId="{F9D6EE92-9201-9101-D846-C5666E2032E7}"/>
          </ac:spMkLst>
        </pc:spChg>
        <pc:spChg chg="del mod">
          <ac:chgData name="Ischanka, Eugen" userId="e4e12248-2210-4459-89e3-acb2dd10c338" providerId="ADAL" clId="{2DE7A1B9-D139-41ED-B0DB-32FE9C168CC3}" dt="2024-07-24T13:06:07.432" v="4133" actId="478"/>
          <ac:spMkLst>
            <pc:docMk/>
            <pc:sldMk cId="2587820384" sldId="710"/>
            <ac:spMk id="7" creationId="{AF1801FA-917C-E863-BB48-B1178B3BA468}"/>
          </ac:spMkLst>
        </pc:spChg>
      </pc:sldChg>
      <pc:sldChg chg="addSp delSp modSp add mod">
        <pc:chgData name="Ischanka, Eugen" userId="e4e12248-2210-4459-89e3-acb2dd10c338" providerId="ADAL" clId="{2DE7A1B9-D139-41ED-B0DB-32FE9C168CC3}" dt="2024-07-24T13:56:16.274" v="9574" actId="12385"/>
        <pc:sldMkLst>
          <pc:docMk/>
          <pc:sldMk cId="3938090530" sldId="711"/>
        </pc:sldMkLst>
        <pc:spChg chg="add mod">
          <ac:chgData name="Ischanka, Eugen" userId="e4e12248-2210-4459-89e3-acb2dd10c338" providerId="ADAL" clId="{2DE7A1B9-D139-41ED-B0DB-32FE9C168CC3}" dt="2024-07-24T13:04:04.401" v="3697" actId="1076"/>
          <ac:spMkLst>
            <pc:docMk/>
            <pc:sldMk cId="3938090530" sldId="711"/>
            <ac:spMk id="2" creationId="{04D40D6E-5024-524E-D0F1-306FAC637519}"/>
          </ac:spMkLst>
        </pc:spChg>
        <pc:spChg chg="mod">
          <ac:chgData name="Ischanka, Eugen" userId="e4e12248-2210-4459-89e3-acb2dd10c338" providerId="ADAL" clId="{2DE7A1B9-D139-41ED-B0DB-32FE9C168CC3}" dt="2024-07-24T13:02:13.722" v="3465" actId="20577"/>
          <ac:spMkLst>
            <pc:docMk/>
            <pc:sldMk cId="3938090530" sldId="711"/>
            <ac:spMk id="3" creationId="{F9D6EE92-9201-9101-D846-C5666E2032E7}"/>
          </ac:spMkLst>
        </pc:spChg>
        <pc:spChg chg="add mod">
          <ac:chgData name="Ischanka, Eugen" userId="e4e12248-2210-4459-89e3-acb2dd10c338" providerId="ADAL" clId="{2DE7A1B9-D139-41ED-B0DB-32FE9C168CC3}" dt="2024-07-24T13:04:04.401" v="3697" actId="1076"/>
          <ac:spMkLst>
            <pc:docMk/>
            <pc:sldMk cId="3938090530" sldId="711"/>
            <ac:spMk id="5" creationId="{E51FD9FC-7EB0-A627-864A-5DC49B34D3E7}"/>
          </ac:spMkLst>
        </pc:spChg>
        <pc:spChg chg="del">
          <ac:chgData name="Ischanka, Eugen" userId="e4e12248-2210-4459-89e3-acb2dd10c338" providerId="ADAL" clId="{2DE7A1B9-D139-41ED-B0DB-32FE9C168CC3}" dt="2024-07-24T13:06:04.262" v="4099" actId="478"/>
          <ac:spMkLst>
            <pc:docMk/>
            <pc:sldMk cId="3938090530" sldId="711"/>
            <ac:spMk id="7" creationId="{AF1801FA-917C-E863-BB48-B1178B3BA468}"/>
          </ac:spMkLst>
        </pc:spChg>
        <pc:spChg chg="add mod">
          <ac:chgData name="Ischanka, Eugen" userId="e4e12248-2210-4459-89e3-acb2dd10c338" providerId="ADAL" clId="{2DE7A1B9-D139-41ED-B0DB-32FE9C168CC3}" dt="2024-07-24T13:03:04.792" v="3564"/>
          <ac:spMkLst>
            <pc:docMk/>
            <pc:sldMk cId="3938090530" sldId="711"/>
            <ac:spMk id="9" creationId="{ADE0AB54-B3F7-9C02-6D9A-E59B3CED12E6}"/>
          </ac:spMkLst>
        </pc:spChg>
        <pc:spChg chg="add mod">
          <ac:chgData name="Ischanka, Eugen" userId="e4e12248-2210-4459-89e3-acb2dd10c338" providerId="ADAL" clId="{2DE7A1B9-D139-41ED-B0DB-32FE9C168CC3}" dt="2024-07-24T13:06:04.482" v="4100"/>
          <ac:spMkLst>
            <pc:docMk/>
            <pc:sldMk cId="3938090530" sldId="711"/>
            <ac:spMk id="11" creationId="{9EC96F04-5AA0-6FFA-75D2-33C43860E846}"/>
          </ac:spMkLst>
        </pc:spChg>
        <pc:spChg chg="add mod">
          <ac:chgData name="Ischanka, Eugen" userId="e4e12248-2210-4459-89e3-acb2dd10c338" providerId="ADAL" clId="{2DE7A1B9-D139-41ED-B0DB-32FE9C168CC3}" dt="2024-07-24T13:16:42.582" v="5748" actId="20577"/>
          <ac:spMkLst>
            <pc:docMk/>
            <pc:sldMk cId="3938090530" sldId="711"/>
            <ac:spMk id="12" creationId="{8B224ACE-5A39-E22B-947E-5CC2BCC5D9BF}"/>
          </ac:spMkLst>
        </pc:spChg>
        <pc:graphicFrameChg chg="add mod modGraphic">
          <ac:chgData name="Ischanka, Eugen" userId="e4e12248-2210-4459-89e3-acb2dd10c338" providerId="ADAL" clId="{2DE7A1B9-D139-41ED-B0DB-32FE9C168CC3}" dt="2024-07-24T13:56:16.274" v="9574" actId="12385"/>
          <ac:graphicFrameMkLst>
            <pc:docMk/>
            <pc:sldMk cId="3938090530" sldId="711"/>
            <ac:graphicFrameMk id="8" creationId="{D98E60E6-5EB4-E31A-D104-E3FE9177122E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6:09.924" v="9573" actId="12385"/>
          <ac:graphicFrameMkLst>
            <pc:docMk/>
            <pc:sldMk cId="3938090530" sldId="711"/>
            <ac:graphicFrameMk id="10" creationId="{A711894C-060F-8DEC-5848-D1AA78ACFC5B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56:30.514" v="9640" actId="12385"/>
        <pc:sldMkLst>
          <pc:docMk/>
          <pc:sldMk cId="2027922528" sldId="712"/>
        </pc:sldMkLst>
        <pc:spChg chg="mod">
          <ac:chgData name="Ischanka, Eugen" userId="e4e12248-2210-4459-89e3-acb2dd10c338" providerId="ADAL" clId="{2DE7A1B9-D139-41ED-B0DB-32FE9C168CC3}" dt="2024-07-24T13:04:23.782" v="3772" actId="20577"/>
          <ac:spMkLst>
            <pc:docMk/>
            <pc:sldMk cId="2027922528" sldId="712"/>
            <ac:spMk id="3" creationId="{F9D6EE92-9201-9101-D846-C5666E2032E7}"/>
          </ac:spMkLst>
        </pc:spChg>
        <pc:spChg chg="del">
          <ac:chgData name="Ischanka, Eugen" userId="e4e12248-2210-4459-89e3-acb2dd10c338" providerId="ADAL" clId="{2DE7A1B9-D139-41ED-B0DB-32FE9C168CC3}" dt="2024-07-24T13:06:01.612" v="4097" actId="478"/>
          <ac:spMkLst>
            <pc:docMk/>
            <pc:sldMk cId="2027922528" sldId="712"/>
            <ac:spMk id="7" creationId="{AF1801FA-917C-E863-BB48-B1178B3BA468}"/>
          </ac:spMkLst>
        </pc:spChg>
        <pc:spChg chg="add mod">
          <ac:chgData name="Ischanka, Eugen" userId="e4e12248-2210-4459-89e3-acb2dd10c338" providerId="ADAL" clId="{2DE7A1B9-D139-41ED-B0DB-32FE9C168CC3}" dt="2024-07-24T13:06:01.836" v="4098"/>
          <ac:spMkLst>
            <pc:docMk/>
            <pc:sldMk cId="2027922528" sldId="712"/>
            <ac:spMk id="13" creationId="{E3F9FE83-3181-328A-C8BC-8806C84AD606}"/>
          </ac:spMkLst>
        </pc:spChg>
        <pc:spChg chg="add mod">
          <ac:chgData name="Ischanka, Eugen" userId="e4e12248-2210-4459-89e3-acb2dd10c338" providerId="ADAL" clId="{2DE7A1B9-D139-41ED-B0DB-32FE9C168CC3}" dt="2024-07-24T13:16:20.083" v="5707" actId="207"/>
          <ac:spMkLst>
            <pc:docMk/>
            <pc:sldMk cId="2027922528" sldId="712"/>
            <ac:spMk id="14" creationId="{E0A2576B-E729-1FCA-FE45-23DF152AB079}"/>
          </ac:spMkLst>
        </pc:spChg>
        <pc:graphicFrameChg chg="del">
          <ac:chgData name="Ischanka, Eugen" userId="e4e12248-2210-4459-89e3-acb2dd10c338" providerId="ADAL" clId="{2DE7A1B9-D139-41ED-B0DB-32FE9C168CC3}" dt="2024-07-24T13:04:55.817" v="3874" actId="478"/>
          <ac:graphicFrameMkLst>
            <pc:docMk/>
            <pc:sldMk cId="2027922528" sldId="712"/>
            <ac:graphicFrameMk id="8" creationId="{D98E60E6-5EB4-E31A-D104-E3FE9177122E}"/>
          </ac:graphicFrameMkLst>
        </pc:graphicFrameChg>
        <pc:graphicFrameChg chg="del">
          <ac:chgData name="Ischanka, Eugen" userId="e4e12248-2210-4459-89e3-acb2dd10c338" providerId="ADAL" clId="{2DE7A1B9-D139-41ED-B0DB-32FE9C168CC3}" dt="2024-07-24T13:04:48.331" v="3840" actId="478"/>
          <ac:graphicFrameMkLst>
            <pc:docMk/>
            <pc:sldMk cId="2027922528" sldId="712"/>
            <ac:graphicFrameMk id="10" creationId="{A711894C-060F-8DEC-5848-D1AA78ACFC5B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6:25.111" v="9607" actId="12385"/>
          <ac:graphicFrameMkLst>
            <pc:docMk/>
            <pc:sldMk cId="2027922528" sldId="712"/>
            <ac:graphicFrameMk id="11" creationId="{8402A7CC-9124-E100-439E-3749828A26A3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6:30.514" v="9640" actId="12385"/>
          <ac:graphicFrameMkLst>
            <pc:docMk/>
            <pc:sldMk cId="2027922528" sldId="712"/>
            <ac:graphicFrameMk id="12" creationId="{D3D21B42-B5DF-EB79-18A7-8EEE81EB4761}"/>
          </ac:graphicFrameMkLst>
        </pc:graphicFrameChg>
      </pc:sldChg>
      <pc:sldChg chg="modSp add mod">
        <pc:chgData name="Ischanka, Eugen" userId="e4e12248-2210-4459-89e3-acb2dd10c338" providerId="ADAL" clId="{2DE7A1B9-D139-41ED-B0DB-32FE9C168CC3}" dt="2024-07-24T13:56:45.744" v="9674" actId="12385"/>
        <pc:sldMkLst>
          <pc:docMk/>
          <pc:sldMk cId="1776970660" sldId="713"/>
        </pc:sldMkLst>
        <pc:spChg chg="mod">
          <ac:chgData name="Ischanka, Eugen" userId="e4e12248-2210-4459-89e3-acb2dd10c338" providerId="ADAL" clId="{2DE7A1B9-D139-41ED-B0DB-32FE9C168CC3}" dt="2024-07-24T13:05:36.681" v="4029" actId="20577"/>
          <ac:spMkLst>
            <pc:docMk/>
            <pc:sldMk cId="1776970660" sldId="713"/>
            <ac:spMk id="3" creationId="{F9D6EE92-9201-9101-D846-C5666E2032E7}"/>
          </ac:spMkLst>
        </pc:spChg>
        <pc:spChg chg="mod">
          <ac:chgData name="Ischanka, Eugen" userId="e4e12248-2210-4459-89e3-acb2dd10c338" providerId="ADAL" clId="{2DE7A1B9-D139-41ED-B0DB-32FE9C168CC3}" dt="2024-07-24T13:05:53.412" v="4064" actId="14100"/>
          <ac:spMkLst>
            <pc:docMk/>
            <pc:sldMk cId="1776970660" sldId="713"/>
            <ac:spMk id="7" creationId="{AF1801FA-917C-E863-BB48-B1178B3BA468}"/>
          </ac:spMkLst>
        </pc:spChg>
        <pc:graphicFrameChg chg="modGraphic">
          <ac:chgData name="Ischanka, Eugen" userId="e4e12248-2210-4459-89e3-acb2dd10c338" providerId="ADAL" clId="{2DE7A1B9-D139-41ED-B0DB-32FE9C168CC3}" dt="2024-07-24T13:56:40.164" v="9673" actId="12385"/>
          <ac:graphicFrameMkLst>
            <pc:docMk/>
            <pc:sldMk cId="1776970660" sldId="713"/>
            <ac:graphicFrameMk id="11" creationId="{8402A7CC-9124-E100-439E-3749828A26A3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4T13:56:45.744" v="9674" actId="12385"/>
          <ac:graphicFrameMkLst>
            <pc:docMk/>
            <pc:sldMk cId="1776970660" sldId="713"/>
            <ac:graphicFrameMk id="12" creationId="{D3D21B42-B5DF-EB79-18A7-8EEE81EB4761}"/>
          </ac:graphicFrameMkLst>
        </pc:graphicFrameChg>
      </pc:sldChg>
      <pc:sldChg chg="addSp modSp add mod">
        <pc:chgData name="Ischanka, Eugen" userId="e4e12248-2210-4459-89e3-acb2dd10c338" providerId="ADAL" clId="{2DE7A1B9-D139-41ED-B0DB-32FE9C168CC3}" dt="2024-07-24T13:57:01.609" v="9708" actId="12385"/>
        <pc:sldMkLst>
          <pc:docMk/>
          <pc:sldMk cId="2474670453" sldId="714"/>
        </pc:sldMkLst>
        <pc:spChg chg="mod">
          <ac:chgData name="Ischanka, Eugen" userId="e4e12248-2210-4459-89e3-acb2dd10c338" providerId="ADAL" clId="{2DE7A1B9-D139-41ED-B0DB-32FE9C168CC3}" dt="2024-07-24T13:06:33.852" v="4174" actId="20577"/>
          <ac:spMkLst>
            <pc:docMk/>
            <pc:sldMk cId="2474670453" sldId="714"/>
            <ac:spMk id="3" creationId="{F9D6EE92-9201-9101-D846-C5666E2032E7}"/>
          </ac:spMkLst>
        </pc:spChg>
        <pc:spChg chg="add mod">
          <ac:chgData name="Ischanka, Eugen" userId="e4e12248-2210-4459-89e3-acb2dd10c338" providerId="ADAL" clId="{2DE7A1B9-D139-41ED-B0DB-32FE9C168CC3}" dt="2024-07-24T13:17:22.822" v="5872" actId="5793"/>
          <ac:spMkLst>
            <pc:docMk/>
            <pc:sldMk cId="2474670453" sldId="714"/>
            <ac:spMk id="7" creationId="{AA9680B4-8863-1A90-20DF-88B6D8349762}"/>
          </ac:spMkLst>
        </pc:spChg>
        <pc:graphicFrameChg chg="modGraphic">
          <ac:chgData name="Ischanka, Eugen" userId="e4e12248-2210-4459-89e3-acb2dd10c338" providerId="ADAL" clId="{2DE7A1B9-D139-41ED-B0DB-32FE9C168CC3}" dt="2024-07-24T13:57:01.609" v="9708" actId="12385"/>
          <ac:graphicFrameMkLst>
            <pc:docMk/>
            <pc:sldMk cId="2474670453" sldId="714"/>
            <ac:graphicFrameMk id="8" creationId="{D98E60E6-5EB4-E31A-D104-E3FE9177122E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4T13:56:55.619" v="9707" actId="12385"/>
          <ac:graphicFrameMkLst>
            <pc:docMk/>
            <pc:sldMk cId="2474670453" sldId="714"/>
            <ac:graphicFrameMk id="10" creationId="{A711894C-060F-8DEC-5848-D1AA78ACFC5B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57:14.434" v="9741" actId="12385"/>
        <pc:sldMkLst>
          <pc:docMk/>
          <pc:sldMk cId="996971963" sldId="715"/>
        </pc:sldMkLst>
        <pc:spChg chg="del">
          <ac:chgData name="Ischanka, Eugen" userId="e4e12248-2210-4459-89e3-acb2dd10c338" providerId="ADAL" clId="{2DE7A1B9-D139-41ED-B0DB-32FE9C168CC3}" dt="2024-07-24T13:07:33.242" v="4291" actId="478"/>
          <ac:spMkLst>
            <pc:docMk/>
            <pc:sldMk cId="996971963" sldId="715"/>
            <ac:spMk id="2" creationId="{04D40D6E-5024-524E-D0F1-306FAC637519}"/>
          </ac:spMkLst>
        </pc:spChg>
        <pc:spChg chg="mod">
          <ac:chgData name="Ischanka, Eugen" userId="e4e12248-2210-4459-89e3-acb2dd10c338" providerId="ADAL" clId="{2DE7A1B9-D139-41ED-B0DB-32FE9C168CC3}" dt="2024-07-24T13:07:10.642" v="4258" actId="20577"/>
          <ac:spMkLst>
            <pc:docMk/>
            <pc:sldMk cId="996971963" sldId="715"/>
            <ac:spMk id="3" creationId="{F9D6EE92-9201-9101-D846-C5666E2032E7}"/>
          </ac:spMkLst>
        </pc:spChg>
        <pc:spChg chg="del">
          <ac:chgData name="Ischanka, Eugen" userId="e4e12248-2210-4459-89e3-acb2dd10c338" providerId="ADAL" clId="{2DE7A1B9-D139-41ED-B0DB-32FE9C168CC3}" dt="2024-07-24T13:07:33.242" v="4291" actId="478"/>
          <ac:spMkLst>
            <pc:docMk/>
            <pc:sldMk cId="996971963" sldId="715"/>
            <ac:spMk id="5" creationId="{E51FD9FC-7EB0-A627-864A-5DC49B34D3E7}"/>
          </ac:spMkLst>
        </pc:spChg>
        <pc:spChg chg="add mod">
          <ac:chgData name="Ischanka, Eugen" userId="e4e12248-2210-4459-89e3-acb2dd10c338" providerId="ADAL" clId="{2DE7A1B9-D139-41ED-B0DB-32FE9C168CC3}" dt="2024-07-24T13:07:41.342" v="4293" actId="1076"/>
          <ac:spMkLst>
            <pc:docMk/>
            <pc:sldMk cId="996971963" sldId="715"/>
            <ac:spMk id="7" creationId="{C2A53F02-E7F6-A9E3-F196-AE6F236752AF}"/>
          </ac:spMkLst>
        </pc:spChg>
        <pc:spChg chg="mod">
          <ac:chgData name="Ischanka, Eugen" userId="e4e12248-2210-4459-89e3-acb2dd10c338" providerId="ADAL" clId="{2DE7A1B9-D139-41ED-B0DB-32FE9C168CC3}" dt="2024-07-24T13:08:39.082" v="4474" actId="20577"/>
          <ac:spMkLst>
            <pc:docMk/>
            <pc:sldMk cId="996971963" sldId="715"/>
            <ac:spMk id="13" creationId="{E3F9FE83-3181-328A-C8BC-8806C84AD606}"/>
          </ac:spMkLst>
        </pc:spChg>
        <pc:graphicFrameChg chg="modGraphic">
          <ac:chgData name="Ischanka, Eugen" userId="e4e12248-2210-4459-89e3-acb2dd10c338" providerId="ADAL" clId="{2DE7A1B9-D139-41ED-B0DB-32FE9C168CC3}" dt="2024-07-24T13:57:14.434" v="9741" actId="12385"/>
          <ac:graphicFrameMkLst>
            <pc:docMk/>
            <pc:sldMk cId="996971963" sldId="715"/>
            <ac:graphicFrameMk id="11" creationId="{8402A7CC-9124-E100-439E-3749828A26A3}"/>
          </ac:graphicFrameMkLst>
        </pc:graphicFrameChg>
        <pc:graphicFrameChg chg="del">
          <ac:chgData name="Ischanka, Eugen" userId="e4e12248-2210-4459-89e3-acb2dd10c338" providerId="ADAL" clId="{2DE7A1B9-D139-41ED-B0DB-32FE9C168CC3}" dt="2024-07-24T13:07:33.242" v="4291" actId="478"/>
          <ac:graphicFrameMkLst>
            <pc:docMk/>
            <pc:sldMk cId="996971963" sldId="715"/>
            <ac:graphicFrameMk id="12" creationId="{D3D21B42-B5DF-EB79-18A7-8EEE81EB4761}"/>
          </ac:graphicFrameMkLst>
        </pc:graphicFrameChg>
      </pc:sldChg>
      <pc:sldChg chg="modSp add mod">
        <pc:chgData name="Ischanka, Eugen" userId="e4e12248-2210-4459-89e3-acb2dd10c338" providerId="ADAL" clId="{2DE7A1B9-D139-41ED-B0DB-32FE9C168CC3}" dt="2024-07-24T13:57:23.096" v="9742" actId="12385"/>
        <pc:sldMkLst>
          <pc:docMk/>
          <pc:sldMk cId="4146784742" sldId="716"/>
        </pc:sldMkLst>
        <pc:spChg chg="mod">
          <ac:chgData name="Ischanka, Eugen" userId="e4e12248-2210-4459-89e3-acb2dd10c338" providerId="ADAL" clId="{2DE7A1B9-D139-41ED-B0DB-32FE9C168CC3}" dt="2024-07-24T13:08:54.777" v="4518" actId="20577"/>
          <ac:spMkLst>
            <pc:docMk/>
            <pc:sldMk cId="4146784742" sldId="716"/>
            <ac:spMk id="13" creationId="{E3F9FE83-3181-328A-C8BC-8806C84AD606}"/>
          </ac:spMkLst>
        </pc:spChg>
        <pc:graphicFrameChg chg="modGraphic">
          <ac:chgData name="Ischanka, Eugen" userId="e4e12248-2210-4459-89e3-acb2dd10c338" providerId="ADAL" clId="{2DE7A1B9-D139-41ED-B0DB-32FE9C168CC3}" dt="2024-07-24T13:57:23.096" v="9742" actId="12385"/>
          <ac:graphicFrameMkLst>
            <pc:docMk/>
            <pc:sldMk cId="4146784742" sldId="716"/>
            <ac:graphicFrameMk id="11" creationId="{8402A7CC-9124-E100-439E-3749828A26A3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57:33.054" v="9775" actId="12385"/>
        <pc:sldMkLst>
          <pc:docMk/>
          <pc:sldMk cId="951585087" sldId="717"/>
        </pc:sldMkLst>
        <pc:spChg chg="del">
          <ac:chgData name="Ischanka, Eugen" userId="e4e12248-2210-4459-89e3-acb2dd10c338" providerId="ADAL" clId="{2DE7A1B9-D139-41ED-B0DB-32FE9C168CC3}" dt="2024-07-24T13:09:07.692" v="4584" actId="478"/>
          <ac:spMkLst>
            <pc:docMk/>
            <pc:sldMk cId="951585087" sldId="717"/>
            <ac:spMk id="2" creationId="{04D40D6E-5024-524E-D0F1-306FAC637519}"/>
          </ac:spMkLst>
        </pc:spChg>
        <pc:spChg chg="mod">
          <ac:chgData name="Ischanka, Eugen" userId="e4e12248-2210-4459-89e3-acb2dd10c338" providerId="ADAL" clId="{2DE7A1B9-D139-41ED-B0DB-32FE9C168CC3}" dt="2024-07-24T13:09:18.512" v="4617"/>
          <ac:spMkLst>
            <pc:docMk/>
            <pc:sldMk cId="951585087" sldId="717"/>
            <ac:spMk id="3" creationId="{F9D6EE92-9201-9101-D846-C5666E2032E7}"/>
          </ac:spMkLst>
        </pc:spChg>
        <pc:spChg chg="del">
          <ac:chgData name="Ischanka, Eugen" userId="e4e12248-2210-4459-89e3-acb2dd10c338" providerId="ADAL" clId="{2DE7A1B9-D139-41ED-B0DB-32FE9C168CC3}" dt="2024-07-24T13:09:07.692" v="4584" actId="478"/>
          <ac:spMkLst>
            <pc:docMk/>
            <pc:sldMk cId="951585087" sldId="717"/>
            <ac:spMk id="5" creationId="{E51FD9FC-7EB0-A627-864A-5DC49B34D3E7}"/>
          </ac:spMkLst>
        </pc:spChg>
        <pc:spChg chg="add mod">
          <ac:chgData name="Ischanka, Eugen" userId="e4e12248-2210-4459-89e3-acb2dd10c338" providerId="ADAL" clId="{2DE7A1B9-D139-41ED-B0DB-32FE9C168CC3}" dt="2024-07-24T13:17:35.622" v="5905"/>
          <ac:spMkLst>
            <pc:docMk/>
            <pc:sldMk cId="951585087" sldId="717"/>
            <ac:spMk id="7" creationId="{26038E64-8898-8CDD-D6D9-4B87A96221F2}"/>
          </ac:spMkLst>
        </pc:spChg>
        <pc:spChg chg="mod">
          <ac:chgData name="Ischanka, Eugen" userId="e4e12248-2210-4459-89e3-acb2dd10c338" providerId="ADAL" clId="{2DE7A1B9-D139-41ED-B0DB-32FE9C168CC3}" dt="2024-07-24T13:09:24.440" v="4650"/>
          <ac:spMkLst>
            <pc:docMk/>
            <pc:sldMk cId="951585087" sldId="717"/>
            <ac:spMk id="11" creationId="{9EC96F04-5AA0-6FFA-75D2-33C43860E846}"/>
          </ac:spMkLst>
        </pc:spChg>
        <pc:graphicFrameChg chg="del">
          <ac:chgData name="Ischanka, Eugen" userId="e4e12248-2210-4459-89e3-acb2dd10c338" providerId="ADAL" clId="{2DE7A1B9-D139-41ED-B0DB-32FE9C168CC3}" dt="2024-07-24T13:09:07.692" v="4584" actId="478"/>
          <ac:graphicFrameMkLst>
            <pc:docMk/>
            <pc:sldMk cId="951585087" sldId="717"/>
            <ac:graphicFrameMk id="8" creationId="{D98E60E6-5EB4-E31A-D104-E3FE9177122E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4T13:57:33.054" v="9775" actId="12385"/>
          <ac:graphicFrameMkLst>
            <pc:docMk/>
            <pc:sldMk cId="951585087" sldId="717"/>
            <ac:graphicFrameMk id="10" creationId="{A711894C-060F-8DEC-5848-D1AA78ACFC5B}"/>
          </ac:graphicFrameMkLst>
        </pc:graphicFrameChg>
      </pc:sldChg>
      <pc:sldChg chg="addSp modSp add mod">
        <pc:chgData name="Ischanka, Eugen" userId="e4e12248-2210-4459-89e3-acb2dd10c338" providerId="ADAL" clId="{2DE7A1B9-D139-41ED-B0DB-32FE9C168CC3}" dt="2024-07-24T13:57:40.577" v="9776" actId="12385"/>
        <pc:sldMkLst>
          <pc:docMk/>
          <pc:sldMk cId="1812959022" sldId="718"/>
        </pc:sldMkLst>
        <pc:spChg chg="add mod">
          <ac:chgData name="Ischanka, Eugen" userId="e4e12248-2210-4459-89e3-acb2dd10c338" providerId="ADAL" clId="{2DE7A1B9-D139-41ED-B0DB-32FE9C168CC3}" dt="2024-07-24T13:17:36.892" v="5906"/>
          <ac:spMkLst>
            <pc:docMk/>
            <pc:sldMk cId="1812959022" sldId="718"/>
            <ac:spMk id="2" creationId="{ED4620A8-3956-AA20-27C4-55C2E9FA222C}"/>
          </ac:spMkLst>
        </pc:spChg>
        <pc:spChg chg="mod">
          <ac:chgData name="Ischanka, Eugen" userId="e4e12248-2210-4459-89e3-acb2dd10c338" providerId="ADAL" clId="{2DE7A1B9-D139-41ED-B0DB-32FE9C168CC3}" dt="2024-07-24T13:09:37.902" v="4694" actId="20577"/>
          <ac:spMkLst>
            <pc:docMk/>
            <pc:sldMk cId="1812959022" sldId="718"/>
            <ac:spMk id="11" creationId="{9EC96F04-5AA0-6FFA-75D2-33C43860E846}"/>
          </ac:spMkLst>
        </pc:spChg>
        <pc:graphicFrameChg chg="modGraphic">
          <ac:chgData name="Ischanka, Eugen" userId="e4e12248-2210-4459-89e3-acb2dd10c338" providerId="ADAL" clId="{2DE7A1B9-D139-41ED-B0DB-32FE9C168CC3}" dt="2024-07-24T13:57:40.577" v="9776" actId="12385"/>
          <ac:graphicFrameMkLst>
            <pc:docMk/>
            <pc:sldMk cId="1812959022" sldId="718"/>
            <ac:graphicFrameMk id="10" creationId="{A711894C-060F-8DEC-5848-D1AA78ACFC5B}"/>
          </ac:graphicFrameMkLst>
        </pc:graphicFrameChg>
      </pc:sldChg>
      <pc:sldChg chg="addSp delSp modSp new del mod modClrScheme chgLayout">
        <pc:chgData name="Ischanka, Eugen" userId="e4e12248-2210-4459-89e3-acb2dd10c338" providerId="ADAL" clId="{2DE7A1B9-D139-41ED-B0DB-32FE9C168CC3}" dt="2024-07-25T13:06:37.685" v="10938" actId="47"/>
        <pc:sldMkLst>
          <pc:docMk/>
          <pc:sldMk cId="1403273669" sldId="719"/>
        </pc:sldMkLst>
        <pc:spChg chg="del mod ord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2" creationId="{4207B0A3-2709-4CD9-1121-5FFAE248D80F}"/>
          </ac:spMkLst>
        </pc:spChg>
        <pc:spChg chg="del mod ord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3" creationId="{18FB96F8-B8F5-30A0-F224-15A18848E957}"/>
          </ac:spMkLst>
        </pc:spChg>
        <pc:spChg chg="del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4" creationId="{4D6AC24F-B517-BF5B-E552-3A7D0BACF54A}"/>
          </ac:spMkLst>
        </pc:spChg>
        <pc:spChg chg="del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5" creationId="{2DBAA588-46F0-C3E5-1E13-B8A77D5917A4}"/>
          </ac:spMkLst>
        </pc:spChg>
        <pc:spChg chg="del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6" creationId="{B07270CB-6E01-6077-4713-6D4A1D11319F}"/>
          </ac:spMkLst>
        </pc:spChg>
        <pc:spChg chg="add mod ord">
          <ac:chgData name="Ischanka, Eugen" userId="e4e12248-2210-4459-89e3-acb2dd10c338" providerId="ADAL" clId="{2DE7A1B9-D139-41ED-B0DB-32FE9C168CC3}" dt="2024-07-24T13:22:20.962" v="6673" actId="20577"/>
          <ac:spMkLst>
            <pc:docMk/>
            <pc:sldMk cId="1403273669" sldId="719"/>
            <ac:spMk id="7" creationId="{22259C51-2381-EF2F-23B8-0B4FEEB4799B}"/>
          </ac:spMkLst>
        </pc:spChg>
        <pc:spChg chg="add del mod ord">
          <ac:chgData name="Ischanka, Eugen" userId="e4e12248-2210-4459-89e3-acb2dd10c338" providerId="ADAL" clId="{2DE7A1B9-D139-41ED-B0DB-32FE9C168CC3}" dt="2024-07-24T13:21:49.572" v="6452" actId="207"/>
          <ac:spMkLst>
            <pc:docMk/>
            <pc:sldMk cId="1403273669" sldId="719"/>
            <ac:spMk id="8" creationId="{D25237ED-FCFC-3BE9-A91C-AAF06D79EC15}"/>
          </ac:spMkLst>
        </pc:spChg>
        <pc:spChg chg="add mod ord">
          <ac:chgData name="Ischanka, Eugen" userId="e4e12248-2210-4459-89e3-acb2dd10c338" providerId="ADAL" clId="{2DE7A1B9-D139-41ED-B0DB-32FE9C168CC3}" dt="2024-07-24T13:22:37.323" v="6707" actId="20577"/>
          <ac:spMkLst>
            <pc:docMk/>
            <pc:sldMk cId="1403273669" sldId="719"/>
            <ac:spMk id="9" creationId="{833AA0BD-20DB-0F92-9831-692E19003898}"/>
          </ac:spMkLst>
        </pc:spChg>
        <pc:spChg chg="add del mod">
          <ac:chgData name="Ischanka, Eugen" userId="e4e12248-2210-4459-89e3-acb2dd10c338" providerId="ADAL" clId="{2DE7A1B9-D139-41ED-B0DB-32FE9C168CC3}" dt="2024-07-24T13:29:24.533" v="7291" actId="478"/>
          <ac:spMkLst>
            <pc:docMk/>
            <pc:sldMk cId="1403273669" sldId="719"/>
            <ac:spMk id="12" creationId="{5E46FDE7-F106-7908-F34E-3B2FD543632F}"/>
          </ac:spMkLst>
        </pc:spChg>
        <pc:spChg chg="add mod">
          <ac:chgData name="Ischanka, Eugen" userId="e4e12248-2210-4459-89e3-acb2dd10c338" providerId="ADAL" clId="{2DE7A1B9-D139-41ED-B0DB-32FE9C168CC3}" dt="2024-07-24T13:29:59.333" v="7358" actId="404"/>
          <ac:spMkLst>
            <pc:docMk/>
            <pc:sldMk cId="1403273669" sldId="719"/>
            <ac:spMk id="13" creationId="{E75B697A-DF86-1F12-85BD-C5614B0B4191}"/>
          </ac:spMkLst>
        </pc:spChg>
        <pc:spChg chg="add mod">
          <ac:chgData name="Ischanka, Eugen" userId="e4e12248-2210-4459-89e3-acb2dd10c338" providerId="ADAL" clId="{2DE7A1B9-D139-41ED-B0DB-32FE9C168CC3}" dt="2024-07-25T13:03:37.141" v="10364" actId="1076"/>
          <ac:spMkLst>
            <pc:docMk/>
            <pc:sldMk cId="1403273669" sldId="719"/>
            <ac:spMk id="14" creationId="{FE48F39A-D394-BCAB-4842-7EE491FD96AA}"/>
          </ac:spMkLst>
        </pc:spChg>
        <pc:graphicFrameChg chg="add mod">
          <ac:chgData name="Ischanka, Eugen" userId="e4e12248-2210-4459-89e3-acb2dd10c338" providerId="ADAL" clId="{2DE7A1B9-D139-41ED-B0DB-32FE9C168CC3}" dt="2024-07-24T13:21:26.272" v="6414"/>
          <ac:graphicFrameMkLst>
            <pc:docMk/>
            <pc:sldMk cId="1403273669" sldId="719"/>
            <ac:graphicFrameMk id="10" creationId="{D29CD6DD-6614-F318-209B-8424862619A8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24:16.222" v="7070"/>
          <ac:graphicFrameMkLst>
            <pc:docMk/>
            <pc:sldMk cId="1403273669" sldId="719"/>
            <ac:graphicFrameMk id="11" creationId="{AD25562F-F208-24C4-4572-ED929F088BBF}"/>
          </ac:graphicFrameMkLst>
        </pc:graphicFrameChg>
        <pc:picChg chg="add mod">
          <ac:chgData name="Ischanka, Eugen" userId="e4e12248-2210-4459-89e3-acb2dd10c338" providerId="ADAL" clId="{2DE7A1B9-D139-41ED-B0DB-32FE9C168CC3}" dt="2024-07-24T13:28:41.423" v="7139" actId="1076"/>
          <ac:picMkLst>
            <pc:docMk/>
            <pc:sldMk cId="1403273669" sldId="719"/>
            <ac:picMk id="3074" creationId="{AF1AF487-741B-BB68-8FE9-831E4C48C0A5}"/>
          </ac:picMkLst>
        </pc:picChg>
      </pc:sldChg>
      <pc:sldChg chg="addSp delSp modSp new mod chgLayout">
        <pc:chgData name="Ischanka, Eugen" userId="e4e12248-2210-4459-89e3-acb2dd10c338" providerId="ADAL" clId="{2DE7A1B9-D139-41ED-B0DB-32FE9C168CC3}" dt="2024-07-24T13:36:28.403" v="7977" actId="20577"/>
        <pc:sldMkLst>
          <pc:docMk/>
          <pc:sldMk cId="1393852811" sldId="720"/>
        </pc:sldMkLst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2" creationId="{BF65B720-A470-455E-975C-BB3E494B5A80}"/>
          </ac:spMkLst>
        </pc:spChg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3" creationId="{B07C50C7-EA7B-807F-A468-A710C35831F6}"/>
          </ac:spMkLst>
        </pc:spChg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4" creationId="{580E6321-BC36-8195-B87D-5124A2BEDD83}"/>
          </ac:spMkLst>
        </pc:spChg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5" creationId="{B9561842-DC66-D923-28FA-84FF750D1801}"/>
          </ac:spMkLst>
        </pc:spChg>
        <pc:spChg chg="add mod ord">
          <ac:chgData name="Ischanka, Eugen" userId="e4e12248-2210-4459-89e3-acb2dd10c338" providerId="ADAL" clId="{2DE7A1B9-D139-41ED-B0DB-32FE9C168CC3}" dt="2024-07-24T13:35:33.163" v="7740" actId="20577"/>
          <ac:spMkLst>
            <pc:docMk/>
            <pc:sldMk cId="1393852811" sldId="720"/>
            <ac:spMk id="6" creationId="{8D347819-206E-D1EE-C92F-E87D60534693}"/>
          </ac:spMkLst>
        </pc:spChg>
        <pc:spChg chg="add mod ord">
          <ac:chgData name="Ischanka, Eugen" userId="e4e12248-2210-4459-89e3-acb2dd10c338" providerId="ADAL" clId="{2DE7A1B9-D139-41ED-B0DB-32FE9C168CC3}" dt="2024-07-24T13:36:28.403" v="7977" actId="20577"/>
          <ac:spMkLst>
            <pc:docMk/>
            <pc:sldMk cId="1393852811" sldId="720"/>
            <ac:spMk id="7" creationId="{930EFB01-657A-C5EC-8136-EB20DAAABF38}"/>
          </ac:spMkLst>
        </pc:spChg>
        <pc:spChg chg="add del mod ord">
          <ac:chgData name="Ischanka, Eugen" userId="e4e12248-2210-4459-89e3-acb2dd10c338" providerId="ADAL" clId="{2DE7A1B9-D139-41ED-B0DB-32FE9C168CC3}" dt="2024-07-24T13:30:34.277" v="7392" actId="478"/>
          <ac:spMkLst>
            <pc:docMk/>
            <pc:sldMk cId="1393852811" sldId="720"/>
            <ac:spMk id="8" creationId="{1300729D-AFA4-6195-54AB-EA8099E7D2F6}"/>
          </ac:spMkLst>
        </pc:spChg>
        <pc:spChg chg="add del mod ord">
          <ac:chgData name="Ischanka, Eugen" userId="e4e12248-2210-4459-89e3-acb2dd10c338" providerId="ADAL" clId="{2DE7A1B9-D139-41ED-B0DB-32FE9C168CC3}" dt="2024-07-24T13:30:48.583" v="7426"/>
          <ac:spMkLst>
            <pc:docMk/>
            <pc:sldMk cId="1393852811" sldId="720"/>
            <ac:spMk id="9" creationId="{51BC32C5-672C-4693-BA9D-2E7900E5C24C}"/>
          </ac:spMkLst>
        </pc:spChg>
        <pc:graphicFrameChg chg="add mod modGraphic">
          <ac:chgData name="Ischanka, Eugen" userId="e4e12248-2210-4459-89e3-acb2dd10c338" providerId="ADAL" clId="{2DE7A1B9-D139-41ED-B0DB-32FE9C168CC3}" dt="2024-07-24T13:35:43.710" v="7773" actId="113"/>
          <ac:graphicFrameMkLst>
            <pc:docMk/>
            <pc:sldMk cId="1393852811" sldId="720"/>
            <ac:graphicFrameMk id="10" creationId="{1B7239C6-B96A-3ECF-5F39-6FAB393C32EF}"/>
          </ac:graphicFrameMkLst>
        </pc:graphicFrameChg>
      </pc:sldChg>
      <pc:sldChg chg="modSp new mod">
        <pc:chgData name="Ischanka, Eugen" userId="e4e12248-2210-4459-89e3-acb2dd10c338" providerId="ADAL" clId="{2DE7A1B9-D139-41ED-B0DB-32FE9C168CC3}" dt="2024-07-24T13:38:05.243" v="8419" actId="207"/>
        <pc:sldMkLst>
          <pc:docMk/>
          <pc:sldMk cId="1167980313" sldId="721"/>
        </pc:sldMkLst>
        <pc:spChg chg="mod">
          <ac:chgData name="Ischanka, Eugen" userId="e4e12248-2210-4459-89e3-acb2dd10c338" providerId="ADAL" clId="{2DE7A1B9-D139-41ED-B0DB-32FE9C168CC3}" dt="2024-07-24T13:37:47.463" v="8385" actId="20577"/>
          <ac:spMkLst>
            <pc:docMk/>
            <pc:sldMk cId="1167980313" sldId="721"/>
            <ac:spMk id="2" creationId="{C02597C0-2BDA-554D-D1B0-4DBCF8B876EE}"/>
          </ac:spMkLst>
        </pc:spChg>
        <pc:spChg chg="mod">
          <ac:chgData name="Ischanka, Eugen" userId="e4e12248-2210-4459-89e3-acb2dd10c338" providerId="ADAL" clId="{2DE7A1B9-D139-41ED-B0DB-32FE9C168CC3}" dt="2024-07-24T13:38:05.243" v="8419" actId="207"/>
          <ac:spMkLst>
            <pc:docMk/>
            <pc:sldMk cId="1167980313" sldId="721"/>
            <ac:spMk id="3" creationId="{84AAA020-E13D-6D8B-760F-750DC7B56ED3}"/>
          </ac:spMkLst>
        </pc:spChg>
        <pc:spChg chg="mod">
          <ac:chgData name="Ischanka, Eugen" userId="e4e12248-2210-4459-89e3-acb2dd10c338" providerId="ADAL" clId="{2DE7A1B9-D139-41ED-B0DB-32FE9C168CC3}" dt="2024-07-24T13:36:20.713" v="7943" actId="20577"/>
          <ac:spMkLst>
            <pc:docMk/>
            <pc:sldMk cId="1167980313" sldId="721"/>
            <ac:spMk id="4" creationId="{A57B4D4D-B4EC-12A0-F0C4-E39B13BF2872}"/>
          </ac:spMkLst>
        </pc:spChg>
        <pc:spChg chg="mod">
          <ac:chgData name="Ischanka, Eugen" userId="e4e12248-2210-4459-89e3-acb2dd10c338" providerId="ADAL" clId="{2DE7A1B9-D139-41ED-B0DB-32FE9C168CC3}" dt="2024-07-24T13:36:34.483" v="8011" actId="20577"/>
          <ac:spMkLst>
            <pc:docMk/>
            <pc:sldMk cId="1167980313" sldId="721"/>
            <ac:spMk id="5" creationId="{244ED486-AEB2-2D60-EAA1-D9EBDED7B324}"/>
          </ac:spMkLst>
        </pc:spChg>
      </pc:sldChg>
      <pc:sldChg chg="addSp delSp modSp new mod modClrScheme chgLayout">
        <pc:chgData name="Ischanka, Eugen" userId="e4e12248-2210-4459-89e3-acb2dd10c338" providerId="ADAL" clId="{2DE7A1B9-D139-41ED-B0DB-32FE9C168CC3}" dt="2024-07-24T13:59:38.354" v="10246" actId="20577"/>
        <pc:sldMkLst>
          <pc:docMk/>
          <pc:sldMk cId="134422736" sldId="722"/>
        </pc:sldMkLst>
        <pc:spChg chg="del 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2" creationId="{F7734ED4-8544-3B10-7BFA-A8BC32FD12D0}"/>
          </ac:spMkLst>
        </pc:spChg>
        <pc:spChg chg="del 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3" creationId="{96C1EB87-B1D0-5288-9A9F-686A7C8796B5}"/>
          </ac:spMkLst>
        </pc:spChg>
        <pc:spChg chg="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4" creationId="{1B16F494-FEEE-6BE0-85A2-A64612F63DA6}"/>
          </ac:spMkLst>
        </pc:spChg>
        <pc:spChg chg="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5" creationId="{AA6B2A40-F636-DAD6-EFDA-0543EAA8535C}"/>
          </ac:spMkLst>
        </pc:spChg>
        <pc:spChg chg="add del mod ord">
          <ac:chgData name="Ischanka, Eugen" userId="e4e12248-2210-4459-89e3-acb2dd10c338" providerId="ADAL" clId="{2DE7A1B9-D139-41ED-B0DB-32FE9C168CC3}" dt="2024-07-24T13:43:12.699" v="8637"/>
          <ac:spMkLst>
            <pc:docMk/>
            <pc:sldMk cId="134422736" sldId="722"/>
            <ac:spMk id="6" creationId="{613754C3-0112-7761-1C90-56976D4B984F}"/>
          </ac:spMkLst>
        </pc:spChg>
        <pc:spChg chg="add mod ord">
          <ac:chgData name="Ischanka, Eugen" userId="e4e12248-2210-4459-89e3-acb2dd10c338" providerId="ADAL" clId="{2DE7A1B9-D139-41ED-B0DB-32FE9C168CC3}" dt="2024-07-24T13:59:38.354" v="10246" actId="20577"/>
          <ac:spMkLst>
            <pc:docMk/>
            <pc:sldMk cId="134422736" sldId="722"/>
            <ac:spMk id="7" creationId="{02007954-45DE-AD47-7407-BD6108ECFFA6}"/>
          </ac:spMkLst>
        </pc:spChg>
        <pc:spChg chg="add del mod">
          <ac:chgData name="Ischanka, Eugen" userId="e4e12248-2210-4459-89e3-acb2dd10c338" providerId="ADAL" clId="{2DE7A1B9-D139-41ED-B0DB-32FE9C168CC3}" dt="2024-07-24T13:43:36.593" v="8705" actId="478"/>
          <ac:spMkLst>
            <pc:docMk/>
            <pc:sldMk cId="134422736" sldId="722"/>
            <ac:spMk id="9" creationId="{907A9BFC-3959-A126-8C6A-BAB03236D870}"/>
          </ac:spMkLst>
        </pc:spChg>
        <pc:spChg chg="add mod">
          <ac:chgData name="Ischanka, Eugen" userId="e4e12248-2210-4459-89e3-acb2dd10c338" providerId="ADAL" clId="{2DE7A1B9-D139-41ED-B0DB-32FE9C168CC3}" dt="2024-07-24T13:45:18.174" v="8942" actId="1076"/>
          <ac:spMkLst>
            <pc:docMk/>
            <pc:sldMk cId="134422736" sldId="722"/>
            <ac:spMk id="11" creationId="{075C446A-BF7A-427D-EAA6-18B87A0F4206}"/>
          </ac:spMkLst>
        </pc:spChg>
        <pc:graphicFrameChg chg="add mod modGraphic">
          <ac:chgData name="Ischanka, Eugen" userId="e4e12248-2210-4459-89e3-acb2dd10c338" providerId="ADAL" clId="{2DE7A1B9-D139-41ED-B0DB-32FE9C168CC3}" dt="2024-07-24T13:43:18.353" v="8638" actId="12385"/>
          <ac:graphicFrameMkLst>
            <pc:docMk/>
            <pc:sldMk cId="134422736" sldId="722"/>
            <ac:graphicFrameMk id="8" creationId="{6D3C7F31-021F-8F54-3B49-56064975BCE5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9:34.734" v="10245" actId="2084"/>
          <ac:graphicFrameMkLst>
            <pc:docMk/>
            <pc:sldMk cId="134422736" sldId="722"/>
            <ac:graphicFrameMk id="10" creationId="{549A2623-159A-A291-673C-FE2703235786}"/>
          </ac:graphicFrameMkLst>
        </pc:graphicFrameChg>
      </pc:sldChg>
      <pc:sldChg chg="addSp delSp modSp new mod modClrScheme chgLayout">
        <pc:chgData name="Ischanka, Eugen" userId="e4e12248-2210-4459-89e3-acb2dd10c338" providerId="ADAL" clId="{2DE7A1B9-D139-41ED-B0DB-32FE9C168CC3}" dt="2024-07-24T13:59:48.974" v="10279" actId="12385"/>
        <pc:sldMkLst>
          <pc:docMk/>
          <pc:sldMk cId="1141583323" sldId="723"/>
        </pc:sldMkLst>
        <pc:spChg chg="del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2" creationId="{8CFA4BD5-BCCB-DF4C-7D4C-CF92B49E5C02}"/>
          </ac:spMkLst>
        </pc:spChg>
        <pc:spChg chg="del mod ord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3" creationId="{08728D36-4BEB-7D40-1969-A841C7C3705F}"/>
          </ac:spMkLst>
        </pc:spChg>
        <pc:spChg chg="del mod ord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4" creationId="{0D2FBCFD-3E9A-9070-368B-3CB917669490}"/>
          </ac:spMkLst>
        </pc:spChg>
        <pc:spChg chg="del mod ord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5" creationId="{1DEBF962-7442-48DE-F0B8-C2671681CF1E}"/>
          </ac:spMkLst>
        </pc:spChg>
        <pc:spChg chg="add mod ord">
          <ac:chgData name="Ischanka, Eugen" userId="e4e12248-2210-4459-89e3-acb2dd10c338" providerId="ADAL" clId="{2DE7A1B9-D139-41ED-B0DB-32FE9C168CC3}" dt="2024-07-24T13:47:54.958" v="9177" actId="20577"/>
          <ac:spMkLst>
            <pc:docMk/>
            <pc:sldMk cId="1141583323" sldId="723"/>
            <ac:spMk id="6" creationId="{9964A53D-BC31-8855-8F51-17F828F05011}"/>
          </ac:spMkLst>
        </pc:spChg>
        <pc:spChg chg="add del mod ord">
          <ac:chgData name="Ischanka, Eugen" userId="e4e12248-2210-4459-89e3-acb2dd10c338" providerId="ADAL" clId="{2DE7A1B9-D139-41ED-B0DB-32FE9C168CC3}" dt="2024-07-24T13:48:18.783" v="9279"/>
          <ac:spMkLst>
            <pc:docMk/>
            <pc:sldMk cId="1141583323" sldId="723"/>
            <ac:spMk id="7" creationId="{DAE3BE8A-5237-8B60-2C01-6F1B47753DD8}"/>
          </ac:spMkLst>
        </pc:spChg>
        <pc:spChg chg="add mod ord">
          <ac:chgData name="Ischanka, Eugen" userId="e4e12248-2210-4459-89e3-acb2dd10c338" providerId="ADAL" clId="{2DE7A1B9-D139-41ED-B0DB-32FE9C168CC3}" dt="2024-07-24T13:48:06.963" v="9212" actId="20577"/>
          <ac:spMkLst>
            <pc:docMk/>
            <pc:sldMk cId="1141583323" sldId="723"/>
            <ac:spMk id="8" creationId="{30CCDA5C-321F-74E5-6645-C1F32A312040}"/>
          </ac:spMkLst>
        </pc:spChg>
        <pc:spChg chg="add mod">
          <ac:chgData name="Ischanka, Eugen" userId="e4e12248-2210-4459-89e3-acb2dd10c338" providerId="ADAL" clId="{2DE7A1B9-D139-41ED-B0DB-32FE9C168CC3}" dt="2024-07-24T13:48:18.783" v="9279"/>
          <ac:spMkLst>
            <pc:docMk/>
            <pc:sldMk cId="1141583323" sldId="723"/>
            <ac:spMk id="9" creationId="{AF40C02F-46BE-CB7C-C4BD-D8C949809415}"/>
          </ac:spMkLst>
        </pc:spChg>
        <pc:graphicFrameChg chg="add mod modGraphic">
          <ac:chgData name="Ischanka, Eugen" userId="e4e12248-2210-4459-89e3-acb2dd10c338" providerId="ADAL" clId="{2DE7A1B9-D139-41ED-B0DB-32FE9C168CC3}" dt="2024-07-24T13:59:48.974" v="10279" actId="12385"/>
          <ac:graphicFrameMkLst>
            <pc:docMk/>
            <pc:sldMk cId="1141583323" sldId="723"/>
            <ac:graphicFrameMk id="10" creationId="{72AFB4B0-C90B-E3F7-C589-EB25D0C7DFE5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49:14.468" v="9441"/>
        <pc:sldMkLst>
          <pc:docMk/>
          <pc:sldMk cId="2856763923" sldId="724"/>
        </pc:sldMkLst>
        <pc:spChg chg="add mod">
          <ac:chgData name="Ischanka, Eugen" userId="e4e12248-2210-4459-89e3-acb2dd10c338" providerId="ADAL" clId="{2DE7A1B9-D139-41ED-B0DB-32FE9C168CC3}" dt="2024-07-24T13:49:14.468" v="9441"/>
          <ac:spMkLst>
            <pc:docMk/>
            <pc:sldMk cId="2856763923" sldId="724"/>
            <ac:spMk id="2" creationId="{4ED032FB-5675-AD3A-53AB-D834D41B52A6}"/>
          </ac:spMkLst>
        </pc:spChg>
        <pc:spChg chg="del">
          <ac:chgData name="Ischanka, Eugen" userId="e4e12248-2210-4459-89e3-acb2dd10c338" providerId="ADAL" clId="{2DE7A1B9-D139-41ED-B0DB-32FE9C168CC3}" dt="2024-07-24T13:49:14.468" v="9441"/>
          <ac:spMkLst>
            <pc:docMk/>
            <pc:sldMk cId="2856763923" sldId="724"/>
            <ac:spMk id="7" creationId="{DAE3BE8A-5237-8B60-2C01-6F1B47753DD8}"/>
          </ac:spMkLst>
        </pc:spChg>
        <pc:spChg chg="mod">
          <ac:chgData name="Ischanka, Eugen" userId="e4e12248-2210-4459-89e3-acb2dd10c338" providerId="ADAL" clId="{2DE7A1B9-D139-41ED-B0DB-32FE9C168CC3}" dt="2024-07-24T13:48:09.484" v="9214" actId="20577"/>
          <ac:spMkLst>
            <pc:docMk/>
            <pc:sldMk cId="2856763923" sldId="724"/>
            <ac:spMk id="8" creationId="{30CCDA5C-321F-74E5-6645-C1F32A312040}"/>
          </ac:spMkLst>
        </pc:spChg>
      </pc:sldChg>
      <pc:sldChg chg="addSp delSp modSp add mod">
        <pc:chgData name="Ischanka, Eugen" userId="e4e12248-2210-4459-89e3-acb2dd10c338" providerId="ADAL" clId="{2DE7A1B9-D139-41ED-B0DB-32FE9C168CC3}" dt="2024-07-25T13:06:49.690" v="11004" actId="14100"/>
        <pc:sldMkLst>
          <pc:docMk/>
          <pc:sldMk cId="1233903584" sldId="725"/>
        </pc:sldMkLst>
        <pc:spChg chg="mod">
          <ac:chgData name="Ischanka, Eugen" userId="e4e12248-2210-4459-89e3-acb2dd10c338" providerId="ADAL" clId="{2DE7A1B9-D139-41ED-B0DB-32FE9C168CC3}" dt="2024-07-25T13:06:49.690" v="11004" actId="14100"/>
          <ac:spMkLst>
            <pc:docMk/>
            <pc:sldMk cId="1233903584" sldId="725"/>
            <ac:spMk id="8" creationId="{D25237ED-FCFC-3BE9-A91C-AAF06D79EC15}"/>
          </ac:spMkLst>
        </pc:spChg>
        <pc:spChg chg="mod">
          <ac:chgData name="Ischanka, Eugen" userId="e4e12248-2210-4459-89e3-acb2dd10c338" providerId="ADAL" clId="{2DE7A1B9-D139-41ED-B0DB-32FE9C168CC3}" dt="2024-07-25T13:04:31.138" v="10530" actId="1076"/>
          <ac:spMkLst>
            <pc:docMk/>
            <pc:sldMk cId="1233903584" sldId="725"/>
            <ac:spMk id="13" creationId="{E75B697A-DF86-1F12-85BD-C5614B0B4191}"/>
          </ac:spMkLst>
        </pc:spChg>
        <pc:spChg chg="mod ord">
          <ac:chgData name="Ischanka, Eugen" userId="e4e12248-2210-4459-89e3-acb2dd10c338" providerId="ADAL" clId="{2DE7A1B9-D139-41ED-B0DB-32FE9C168CC3}" dt="2024-07-25T13:06:31.244" v="10937" actId="1076"/>
          <ac:spMkLst>
            <pc:docMk/>
            <pc:sldMk cId="1233903584" sldId="725"/>
            <ac:spMk id="14" creationId="{FE48F39A-D394-BCAB-4842-7EE491FD96AA}"/>
          </ac:spMkLst>
        </pc:spChg>
        <pc:graphicFrameChg chg="add mod modGraphic">
          <ac:chgData name="Ischanka, Eugen" userId="e4e12248-2210-4459-89e3-acb2dd10c338" providerId="ADAL" clId="{2DE7A1B9-D139-41ED-B0DB-32FE9C168CC3}" dt="2024-07-25T13:06:21.509" v="10902"/>
          <ac:graphicFrameMkLst>
            <pc:docMk/>
            <pc:sldMk cId="1233903584" sldId="725"/>
            <ac:graphicFrameMk id="2" creationId="{9C1A4FAC-65E5-61C3-1C84-84479D643F7A}"/>
          </ac:graphicFrameMkLst>
        </pc:graphicFrameChg>
        <pc:graphicFrameChg chg="del">
          <ac:chgData name="Ischanka, Eugen" userId="e4e12248-2210-4459-89e3-acb2dd10c338" providerId="ADAL" clId="{2DE7A1B9-D139-41ED-B0DB-32FE9C168CC3}" dt="2024-07-25T13:03:50.626" v="10398" actId="478"/>
          <ac:graphicFrameMkLst>
            <pc:docMk/>
            <pc:sldMk cId="1233903584" sldId="725"/>
            <ac:graphicFrameMk id="11" creationId="{AD25562F-F208-24C4-4572-ED929F088BBF}"/>
          </ac:graphicFrameMkLst>
        </pc:graphicFrameChg>
      </pc:sldChg>
      <pc:sldMasterChg chg="delSp modSp mod delSldLayout">
        <pc:chgData name="Ischanka, Eugen" userId="e4e12248-2210-4459-89e3-acb2dd10c338" providerId="ADAL" clId="{2DE7A1B9-D139-41ED-B0DB-32FE9C168CC3}" dt="2024-07-25T13:06:54.133" v="11036" actId="20577"/>
        <pc:sldMasterMkLst>
          <pc:docMk/>
          <pc:sldMasterMk cId="3579731039" sldId="2147483648"/>
        </pc:sldMasterMkLst>
        <pc:spChg chg="mod">
          <ac:chgData name="Ischanka, Eugen" userId="e4e12248-2210-4459-89e3-acb2dd10c338" providerId="ADAL" clId="{2DE7A1B9-D139-41ED-B0DB-32FE9C168CC3}" dt="2024-07-25T13:06:54.102" v="11012" actId="20577"/>
          <ac:spMkLst>
            <pc:docMk/>
            <pc:sldMasterMk cId="3579731039" sldId="2147483648"/>
            <ac:spMk id="5" creationId="{ECC80EA2-B126-406A-A4EA-C5EE0B8CAE7E}"/>
          </ac:spMkLst>
        </pc:spChg>
        <pc:spChg chg="mod">
          <ac:chgData name="Ischanka, Eugen" userId="e4e12248-2210-4459-89e3-acb2dd10c338" providerId="ADAL" clId="{2DE7A1B9-D139-41ED-B0DB-32FE9C168CC3}" dt="2024-07-25T13:06:54.118" v="11028" actId="20577"/>
          <ac:spMkLst>
            <pc:docMk/>
            <pc:sldMasterMk cId="3579731039" sldId="2147483648"/>
            <ac:spMk id="7" creationId="{31110460-EA35-4541-A967-4AE9DF20115B}"/>
          </ac:spMkLst>
        </pc:spChg>
        <pc:spChg chg="mod">
          <ac:chgData name="Ischanka, Eugen" userId="e4e12248-2210-4459-89e3-acb2dd10c338" providerId="ADAL" clId="{2DE7A1B9-D139-41ED-B0DB-32FE9C168CC3}" dt="2024-07-25T13:06:54.118" v="11020" actId="20577"/>
          <ac:spMkLst>
            <pc:docMk/>
            <pc:sldMasterMk cId="3579731039" sldId="2147483648"/>
            <ac:spMk id="9" creationId="{E9C5B7F4-3B5F-4CA7-9DAA-F99BA5AA8E3A}"/>
          </ac:spMkLst>
        </pc:spChg>
        <pc:spChg chg="mod">
          <ac:chgData name="Ischanka, Eugen" userId="e4e12248-2210-4459-89e3-acb2dd10c338" providerId="ADAL" clId="{2DE7A1B9-D139-41ED-B0DB-32FE9C168CC3}" dt="2024-07-25T13:06:54.133" v="11036" actId="20577"/>
          <ac:spMkLst>
            <pc:docMk/>
            <pc:sldMasterMk cId="3579731039" sldId="2147483648"/>
            <ac:spMk id="14" creationId="{6AACB852-6195-4E25-BA98-BC1ABB9ADF35}"/>
          </ac:spMkLst>
        </pc:spChg>
        <pc:spChg chg="del">
          <ac:chgData name="Ischanka, Eugen" userId="e4e12248-2210-4459-89e3-acb2dd10c338" providerId="ADAL" clId="{2DE7A1B9-D139-41ED-B0DB-32FE9C168CC3}" dt="2024-07-24T12:53:00.851" v="2782" actId="478"/>
          <ac:spMkLst>
            <pc:docMk/>
            <pc:sldMasterMk cId="3579731039" sldId="2147483648"/>
            <ac:spMk id="18" creationId="{1E1288B4-821E-15BD-6097-274288314C91}"/>
          </ac:spMkLst>
        </pc:spChg>
        <pc:sldLayoutChg chg="del">
          <pc:chgData name="Ischanka, Eugen" userId="e4e12248-2210-4459-89e3-acb2dd10c338" providerId="ADAL" clId="{2DE7A1B9-D139-41ED-B0DB-32FE9C168CC3}" dt="2024-07-24T12:28:04.363" v="882" actId="47"/>
          <pc:sldLayoutMkLst>
            <pc:docMk/>
            <pc:sldMasterMk cId="3579731039" sldId="2147483648"/>
            <pc:sldLayoutMk cId="3087837515" sldId="2147483663"/>
          </pc:sldLayoutMkLst>
        </pc:sldLayoutChg>
      </pc:sldMasterChg>
    </pc:docChg>
  </pc:docChgLst>
  <pc:docChgLst>
    <pc:chgData name="Ischanka, Eugen" userId="e4e12248-2210-4459-89e3-acb2dd10c338" providerId="ADAL" clId="{EDBCA537-9AA3-447E-A484-FAC301ECD392}"/>
    <pc:docChg chg="undo redo custSel addSld delSld modSld sldOrd">
      <pc:chgData name="Ischanka, Eugen" userId="e4e12248-2210-4459-89e3-acb2dd10c338" providerId="ADAL" clId="{EDBCA537-9AA3-447E-A484-FAC301ECD392}" dt="2023-12-06T17:30:46.491" v="18409" actId="20577"/>
      <pc:docMkLst>
        <pc:docMk/>
      </pc:docMkLst>
      <pc:sldChg chg="addSp delSp modSp">
        <pc:chgData name="Ischanka, Eugen" userId="e4e12248-2210-4459-89e3-acb2dd10c338" providerId="ADAL" clId="{EDBCA537-9AA3-447E-A484-FAC301ECD392}" dt="2023-12-06T15:11:10.139" v="17358" actId="478"/>
        <pc:sldMkLst>
          <pc:docMk/>
          <pc:sldMk cId="879433821" sldId="283"/>
        </pc:sldMkLst>
        <pc:picChg chg="add del mod">
          <ac:chgData name="Ischanka, Eugen" userId="e4e12248-2210-4459-89e3-acb2dd10c338" providerId="ADAL" clId="{EDBCA537-9AA3-447E-A484-FAC301ECD392}" dt="2023-12-06T15:11:10.139" v="17358" actId="478"/>
          <ac:picMkLst>
            <pc:docMk/>
            <pc:sldMk cId="879433821" sldId="283"/>
            <ac:picMk id="2" creationId="{561B08A7-5E20-5570-0565-30DB4A12B6C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1:39.680" v="17361" actId="1076"/>
        <pc:sldMkLst>
          <pc:docMk/>
          <pc:sldMk cId="3371421586" sldId="328"/>
        </pc:sldMkLst>
        <pc:spChg chg="add del mod">
          <ac:chgData name="Ischanka, Eugen" userId="e4e12248-2210-4459-89e3-acb2dd10c338" providerId="ADAL" clId="{EDBCA537-9AA3-447E-A484-FAC301ECD392}" dt="2023-12-06T15:07:03.835" v="17279" actId="478"/>
          <ac:spMkLst>
            <pc:docMk/>
            <pc:sldMk cId="3371421586" sldId="328"/>
            <ac:spMk id="2" creationId="{BC987074-7DF1-8CD7-A225-E758902CAF19}"/>
          </ac:spMkLst>
        </pc:spChg>
        <pc:spChg chg="mod">
          <ac:chgData name="Ischanka, Eugen" userId="e4e12248-2210-4459-89e3-acb2dd10c338" providerId="ADAL" clId="{EDBCA537-9AA3-447E-A484-FAC301ECD392}" dt="2023-12-06T15:05:49.365" v="17275" actId="20577"/>
          <ac:spMkLst>
            <pc:docMk/>
            <pc:sldMk cId="3371421586" sldId="328"/>
            <ac:spMk id="11" creationId="{4997980C-EDF4-6993-0214-7F325C9B36DC}"/>
          </ac:spMkLst>
        </pc:spChg>
        <pc:picChg chg="add mod">
          <ac:chgData name="Ischanka, Eugen" userId="e4e12248-2210-4459-89e3-acb2dd10c338" providerId="ADAL" clId="{EDBCA537-9AA3-447E-A484-FAC301ECD392}" dt="2023-12-06T15:11:39.680" v="17361" actId="1076"/>
          <ac:picMkLst>
            <pc:docMk/>
            <pc:sldMk cId="3371421586" sldId="328"/>
            <ac:picMk id="3" creationId="{42C71BE0-B3B9-6B4A-7254-01A086159ED5}"/>
          </ac:picMkLst>
        </pc:picChg>
        <pc:picChg chg="add del mod">
          <ac:chgData name="Ischanka, Eugen" userId="e4e12248-2210-4459-89e3-acb2dd10c338" providerId="ADAL" clId="{EDBCA537-9AA3-447E-A484-FAC301ECD392}" dt="2023-12-06T15:08:32.657" v="17294" actId="478"/>
          <ac:picMkLst>
            <pc:docMk/>
            <pc:sldMk cId="3371421586" sldId="328"/>
            <ac:picMk id="1028" creationId="{5E827E1C-BFA4-0435-176F-8C231A5BBAD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15.546" v="17478" actId="20577"/>
        <pc:sldMkLst>
          <pc:docMk/>
          <pc:sldMk cId="182752618" sldId="340"/>
        </pc:sldMkLst>
        <pc:spChg chg="add del mod">
          <ac:chgData name="Ischanka, Eugen" userId="e4e12248-2210-4459-89e3-acb2dd10c338" providerId="ADAL" clId="{EDBCA537-9AA3-447E-A484-FAC301ECD392}" dt="2023-11-28T11:24:23.947" v="1987" actId="478"/>
          <ac:spMkLst>
            <pc:docMk/>
            <pc:sldMk cId="182752618" sldId="340"/>
            <ac:spMk id="2" creationId="{BC3E4C83-15CE-9025-D5EF-5D1C33F9D640}"/>
          </ac:spMkLst>
        </pc:spChg>
        <pc:spChg chg="mod">
          <ac:chgData name="Ischanka, Eugen" userId="e4e12248-2210-4459-89e3-acb2dd10c338" providerId="ADAL" clId="{EDBCA537-9AA3-447E-A484-FAC301ECD392}" dt="2023-12-06T15:18:15.546" v="17478" actId="20577"/>
          <ac:spMkLst>
            <pc:docMk/>
            <pc:sldMk cId="182752618" sldId="340"/>
            <ac:spMk id="4" creationId="{976B4EA6-0120-1B4A-E7FB-DFC163E8F30F}"/>
          </ac:spMkLst>
        </pc:spChg>
        <pc:spChg chg="add del mod">
          <ac:chgData name="Ischanka, Eugen" userId="e4e12248-2210-4459-89e3-acb2dd10c338" providerId="ADAL" clId="{EDBCA537-9AA3-447E-A484-FAC301ECD392}" dt="2023-12-03T09:58:47.920" v="14926" actId="478"/>
          <ac:spMkLst>
            <pc:docMk/>
            <pc:sldMk cId="182752618" sldId="340"/>
            <ac:spMk id="8" creationId="{0DBE5DD0-C269-0802-A822-F7444C5538E0}"/>
          </ac:spMkLst>
        </pc:spChg>
        <pc:spChg chg="add del mod">
          <ac:chgData name="Ischanka, Eugen" userId="e4e12248-2210-4459-89e3-acb2dd10c338" providerId="ADAL" clId="{EDBCA537-9AA3-447E-A484-FAC301ECD392}" dt="2023-12-01T12:08:38.368" v="13305" actId="478"/>
          <ac:spMkLst>
            <pc:docMk/>
            <pc:sldMk cId="182752618" sldId="340"/>
            <ac:spMk id="8" creationId="{9E8BA0BE-2F53-2FE4-B584-9CFA7A0B30DD}"/>
          </ac:spMkLst>
        </pc:spChg>
        <pc:spChg chg="add del mod">
          <ac:chgData name="Ischanka, Eugen" userId="e4e12248-2210-4459-89e3-acb2dd10c338" providerId="ADAL" clId="{EDBCA537-9AA3-447E-A484-FAC301ECD392}" dt="2023-11-29T08:26:44.513" v="2044" actId="478"/>
          <ac:spMkLst>
            <pc:docMk/>
            <pc:sldMk cId="182752618" sldId="340"/>
            <ac:spMk id="8" creationId="{C4B2BB44-E82B-5F46-BDEB-7F0C4AE83590}"/>
          </ac:spMkLst>
        </pc:spChg>
        <pc:spChg chg="mod">
          <ac:chgData name="Ischanka, Eugen" userId="e4e12248-2210-4459-89e3-acb2dd10c338" providerId="ADAL" clId="{EDBCA537-9AA3-447E-A484-FAC301ECD392}" dt="2023-12-04T06:11:17.631" v="16069" actId="20577"/>
          <ac:spMkLst>
            <pc:docMk/>
            <pc:sldMk cId="182752618" sldId="340"/>
            <ac:spMk id="9" creationId="{D3E2409B-1721-6F8D-C7B5-88E975B1A6E1}"/>
          </ac:spMkLst>
        </pc:spChg>
        <pc:picChg chg="add mod">
          <ac:chgData name="Ischanka, Eugen" userId="e4e12248-2210-4459-89e3-acb2dd10c338" providerId="ADAL" clId="{EDBCA537-9AA3-447E-A484-FAC301ECD392}" dt="2023-12-06T15:08:22.517" v="17289" actId="1076"/>
          <ac:picMkLst>
            <pc:docMk/>
            <pc:sldMk cId="182752618" sldId="340"/>
            <ac:picMk id="2" creationId="{A91018BA-6746-941A-1681-CD2EC586E6C6}"/>
          </ac:picMkLst>
        </pc:picChg>
      </pc:sldChg>
      <pc:sldChg chg="addSp modSp del mod">
        <pc:chgData name="Ischanka, Eugen" userId="e4e12248-2210-4459-89e3-acb2dd10c338" providerId="ADAL" clId="{EDBCA537-9AA3-447E-A484-FAC301ECD392}" dt="2023-12-01T12:26:33.553" v="13374" actId="47"/>
        <pc:sldMkLst>
          <pc:docMk/>
          <pc:sldMk cId="2890626996" sldId="341"/>
        </pc:sldMkLst>
        <pc:spChg chg="add mod">
          <ac:chgData name="Ischanka, Eugen" userId="e4e12248-2210-4459-89e3-acb2dd10c338" providerId="ADAL" clId="{EDBCA537-9AA3-447E-A484-FAC301ECD392}" dt="2023-12-01T09:03:20.308" v="13269" actId="1076"/>
          <ac:spMkLst>
            <pc:docMk/>
            <pc:sldMk cId="2890626996" sldId="341"/>
            <ac:spMk id="5" creationId="{34CC6CBB-D6E7-851C-B2D8-D79A101EF67E}"/>
          </ac:spMkLst>
        </pc:spChg>
      </pc:sldChg>
      <pc:sldChg chg="addSp modSp mod">
        <pc:chgData name="Ischanka, Eugen" userId="e4e12248-2210-4459-89e3-acb2dd10c338" providerId="ADAL" clId="{EDBCA537-9AA3-447E-A484-FAC301ECD392}" dt="2023-12-06T15:18:28.956" v="17482"/>
        <pc:sldMkLst>
          <pc:docMk/>
          <pc:sldMk cId="460441520" sldId="342"/>
        </pc:sldMkLst>
        <pc:spChg chg="mod">
          <ac:chgData name="Ischanka, Eugen" userId="e4e12248-2210-4459-89e3-acb2dd10c338" providerId="ADAL" clId="{EDBCA537-9AA3-447E-A484-FAC301ECD392}" dt="2023-12-06T15:18:28.956" v="17482"/>
          <ac:spMkLst>
            <pc:docMk/>
            <pc:sldMk cId="460441520" sldId="342"/>
            <ac:spMk id="4" creationId="{DED00CC6-8D9C-7A04-AAB0-4059A456F19B}"/>
          </ac:spMkLst>
        </pc:spChg>
        <pc:picChg chg="add mod">
          <ac:chgData name="Ischanka, Eugen" userId="e4e12248-2210-4459-89e3-acb2dd10c338" providerId="ADAL" clId="{EDBCA537-9AA3-447E-A484-FAC301ECD392}" dt="2023-12-06T15:08:53.393" v="17299"/>
          <ac:picMkLst>
            <pc:docMk/>
            <pc:sldMk cId="460441520" sldId="342"/>
            <ac:picMk id="2" creationId="{1AA153A7-3DB0-0BAF-DA91-9501AACB6847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8:26.290" v="17481"/>
        <pc:sldMkLst>
          <pc:docMk/>
          <pc:sldMk cId="2899788142" sldId="343"/>
        </pc:sldMkLst>
        <pc:spChg chg="mod">
          <ac:chgData name="Ischanka, Eugen" userId="e4e12248-2210-4459-89e3-acb2dd10c338" providerId="ADAL" clId="{EDBCA537-9AA3-447E-A484-FAC301ECD392}" dt="2023-12-06T15:18:26.290" v="17481"/>
          <ac:spMkLst>
            <pc:docMk/>
            <pc:sldMk cId="2899788142" sldId="343"/>
            <ac:spMk id="4" creationId="{DED00CC6-8D9C-7A04-AAB0-4059A456F19B}"/>
          </ac:spMkLst>
        </pc:spChg>
        <pc:graphicFrameChg chg="modGraphic">
          <ac:chgData name="Ischanka, Eugen" userId="e4e12248-2210-4459-89e3-acb2dd10c338" providerId="ADAL" clId="{EDBCA537-9AA3-447E-A484-FAC301ECD392}" dt="2023-12-01T12:29:52.974" v="13488" actId="13926"/>
          <ac:graphicFrameMkLst>
            <pc:docMk/>
            <pc:sldMk cId="2899788142" sldId="343"/>
            <ac:graphicFrameMk id="6" creationId="{244DCB97-49F1-87F3-D507-BCBAE92C475F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1.171" v="17298"/>
          <ac:picMkLst>
            <pc:docMk/>
            <pc:sldMk cId="2899788142" sldId="343"/>
            <ac:picMk id="2" creationId="{0F6804DC-5299-3882-9FC2-7FAFAE20EC8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34.586" v="17484"/>
        <pc:sldMkLst>
          <pc:docMk/>
          <pc:sldMk cId="37923318" sldId="344"/>
        </pc:sldMkLst>
        <pc:spChg chg="add del mod">
          <ac:chgData name="Ischanka, Eugen" userId="e4e12248-2210-4459-89e3-acb2dd10c338" providerId="ADAL" clId="{EDBCA537-9AA3-447E-A484-FAC301ECD392}" dt="2023-12-01T12:51:25.369" v="13490" actId="478"/>
          <ac:spMkLst>
            <pc:docMk/>
            <pc:sldMk cId="37923318" sldId="344"/>
            <ac:spMk id="2" creationId="{CB2920BF-4A9D-7AF8-451B-AA43CA4F4D24}"/>
          </ac:spMkLst>
        </pc:spChg>
        <pc:spChg chg="mod">
          <ac:chgData name="Ischanka, Eugen" userId="e4e12248-2210-4459-89e3-acb2dd10c338" providerId="ADAL" clId="{EDBCA537-9AA3-447E-A484-FAC301ECD392}" dt="2023-12-06T15:18:34.586" v="17484"/>
          <ac:spMkLst>
            <pc:docMk/>
            <pc:sldMk cId="37923318" sldId="344"/>
            <ac:spMk id="4" creationId="{EC4D51B0-7A2D-8FE6-B170-2824A865A549}"/>
          </ac:spMkLst>
        </pc:spChg>
        <pc:spChg chg="del">
          <ac:chgData name="Ischanka, Eugen" userId="e4e12248-2210-4459-89e3-acb2dd10c338" providerId="ADAL" clId="{EDBCA537-9AA3-447E-A484-FAC301ECD392}" dt="2023-11-28T11:37:37.127" v="1998" actId="478"/>
          <ac:spMkLst>
            <pc:docMk/>
            <pc:sldMk cId="37923318" sldId="344"/>
            <ac:spMk id="5" creationId="{D746F66A-9C36-03B9-1E8E-48FCCC3AB3BE}"/>
          </ac:spMkLst>
        </pc:spChg>
        <pc:spChg chg="mod">
          <ac:chgData name="Ischanka, Eugen" userId="e4e12248-2210-4459-89e3-acb2dd10c338" providerId="ADAL" clId="{EDBCA537-9AA3-447E-A484-FAC301ECD392}" dt="2023-12-01T12:56:40.398" v="13591" actId="20577"/>
          <ac:spMkLst>
            <pc:docMk/>
            <pc:sldMk cId="37923318" sldId="344"/>
            <ac:spMk id="21" creationId="{A2754165-4340-5713-C4D9-2009755074D9}"/>
          </ac:spMkLst>
        </pc:spChg>
        <pc:graphicFrameChg chg="modGraphic">
          <ac:chgData name="Ischanka, Eugen" userId="e4e12248-2210-4459-89e3-acb2dd10c338" providerId="ADAL" clId="{EDBCA537-9AA3-447E-A484-FAC301ECD392}" dt="2023-12-01T12:52:54.214" v="13520" actId="20577"/>
          <ac:graphicFrameMkLst>
            <pc:docMk/>
            <pc:sldMk cId="37923318" sldId="344"/>
            <ac:graphicFrameMk id="34" creationId="{6269B9AF-7509-224C-C122-BD252F548A69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1T12:54:41.578" v="13550" actId="20577"/>
          <ac:graphicFrameMkLst>
            <pc:docMk/>
            <pc:sldMk cId="37923318" sldId="344"/>
            <ac:graphicFrameMk id="35" creationId="{C80D42A5-8573-C24F-21C6-85DF770E2CCB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1T12:56:03.963" v="13586" actId="20577"/>
          <ac:graphicFrameMkLst>
            <pc:docMk/>
            <pc:sldMk cId="37923318" sldId="344"/>
            <ac:graphicFrameMk id="37" creationId="{5D4ABF1D-7C56-3D90-D4E6-771CCD11FB46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1T13:05:06.977" v="13635" actId="20577"/>
          <ac:graphicFrameMkLst>
            <pc:docMk/>
            <pc:sldMk cId="37923318" sldId="344"/>
            <ac:graphicFrameMk id="42" creationId="{3096BA0E-0B24-9AF7-4F08-508E7F47C9F9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6.298" v="17301"/>
          <ac:picMkLst>
            <pc:docMk/>
            <pc:sldMk cId="37923318" sldId="344"/>
            <ac:picMk id="2" creationId="{E458F727-7F8D-15B8-DA8D-79E311912660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38.163" v="17485"/>
        <pc:sldMkLst>
          <pc:docMk/>
          <pc:sldMk cId="3777640778" sldId="345"/>
        </pc:sldMkLst>
        <pc:spChg chg="add del mod">
          <ac:chgData name="Ischanka, Eugen" userId="e4e12248-2210-4459-89e3-acb2dd10c338" providerId="ADAL" clId="{EDBCA537-9AA3-447E-A484-FAC301ECD392}" dt="2023-12-01T13:09:49.362" v="13637" actId="478"/>
          <ac:spMkLst>
            <pc:docMk/>
            <pc:sldMk cId="3777640778" sldId="345"/>
            <ac:spMk id="2" creationId="{E897831F-D1B1-595A-6F37-0C2EA4A46937}"/>
          </ac:spMkLst>
        </pc:spChg>
        <pc:spChg chg="mod">
          <ac:chgData name="Ischanka, Eugen" userId="e4e12248-2210-4459-89e3-acb2dd10c338" providerId="ADAL" clId="{EDBCA537-9AA3-447E-A484-FAC301ECD392}" dt="2023-12-06T15:18:38.163" v="17485"/>
          <ac:spMkLst>
            <pc:docMk/>
            <pc:sldMk cId="3777640778" sldId="345"/>
            <ac:spMk id="4" creationId="{DC18FB52-41F7-DB7B-9421-9B3D28725272}"/>
          </ac:spMkLst>
        </pc:spChg>
        <pc:spChg chg="mod">
          <ac:chgData name="Ischanka, Eugen" userId="e4e12248-2210-4459-89e3-acb2dd10c338" providerId="ADAL" clId="{EDBCA537-9AA3-447E-A484-FAC301ECD392}" dt="2023-11-29T08:33:51.959" v="2160" actId="1076"/>
          <ac:spMkLst>
            <pc:docMk/>
            <pc:sldMk cId="3777640778" sldId="345"/>
            <ac:spMk id="5" creationId="{D832FC50-DCBE-43EB-9284-C081C3C70A47}"/>
          </ac:spMkLst>
        </pc:spChg>
        <pc:spChg chg="del mod">
          <ac:chgData name="Ischanka, Eugen" userId="e4e12248-2210-4459-89e3-acb2dd10c338" providerId="ADAL" clId="{EDBCA537-9AA3-447E-A484-FAC301ECD392}" dt="2023-11-28T11:38:03.235" v="1999" actId="478"/>
          <ac:spMkLst>
            <pc:docMk/>
            <pc:sldMk cId="3777640778" sldId="345"/>
            <ac:spMk id="6" creationId="{F53DEEB3-BF14-41C7-0A7D-A8E8E575352E}"/>
          </ac:spMkLst>
        </pc:spChg>
        <pc:spChg chg="add del mod">
          <ac:chgData name="Ischanka, Eugen" userId="e4e12248-2210-4459-89e3-acb2dd10c338" providerId="ADAL" clId="{EDBCA537-9AA3-447E-A484-FAC301ECD392}" dt="2023-11-28T11:38:09.934" v="2002" actId="478"/>
          <ac:spMkLst>
            <pc:docMk/>
            <pc:sldMk cId="3777640778" sldId="345"/>
            <ac:spMk id="9" creationId="{83969801-414A-EFEB-B08D-026C4E1BA084}"/>
          </ac:spMkLst>
        </pc:spChg>
        <pc:spChg chg="add del mod">
          <ac:chgData name="Ischanka, Eugen" userId="e4e12248-2210-4459-89e3-acb2dd10c338" providerId="ADAL" clId="{EDBCA537-9AA3-447E-A484-FAC301ECD392}" dt="2023-11-28T11:38:03.802" v="2000" actId="478"/>
          <ac:spMkLst>
            <pc:docMk/>
            <pc:sldMk cId="3777640778" sldId="345"/>
            <ac:spMk id="10" creationId="{A4E13C67-CE35-BE23-A55B-3BDE17BE172C}"/>
          </ac:spMkLst>
        </pc:spChg>
        <pc:graphicFrameChg chg="del mod">
          <ac:chgData name="Ischanka, Eugen" userId="e4e12248-2210-4459-89e3-acb2dd10c338" providerId="ADAL" clId="{EDBCA537-9AA3-447E-A484-FAC301ECD392}" dt="2023-11-28T11:38:03.235" v="1999" actId="478"/>
          <ac:graphicFrameMkLst>
            <pc:docMk/>
            <pc:sldMk cId="3777640778" sldId="345"/>
            <ac:graphicFrameMk id="2" creationId="{729AD669-6193-1196-58EB-E6E4DAA9ED66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08:33:58.621" v="2161" actId="1076"/>
          <ac:graphicFrameMkLst>
            <pc:docMk/>
            <pc:sldMk cId="3777640778" sldId="345"/>
            <ac:graphicFrameMk id="7" creationId="{4CF5504A-3F00-589C-509E-66898CB3401B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7.727" v="17302"/>
          <ac:picMkLst>
            <pc:docMk/>
            <pc:sldMk cId="3777640778" sldId="345"/>
            <ac:picMk id="2" creationId="{2EC16EAF-40DA-84CD-ED8D-E2BB4B185B00}"/>
          </ac:picMkLst>
        </pc:picChg>
      </pc:sldChg>
      <pc:sldChg chg="addSp delSp modSp del mod modShow">
        <pc:chgData name="Ischanka, Eugen" userId="e4e12248-2210-4459-89e3-acb2dd10c338" providerId="ADAL" clId="{EDBCA537-9AA3-447E-A484-FAC301ECD392}" dt="2023-11-28T11:38:31.443" v="2003" actId="47"/>
        <pc:sldMkLst>
          <pc:docMk/>
          <pc:sldMk cId="2369326508" sldId="346"/>
        </pc:sldMkLst>
        <pc:spChg chg="del">
          <ac:chgData name="Ischanka, Eugen" userId="e4e12248-2210-4459-89e3-acb2dd10c338" providerId="ADAL" clId="{EDBCA537-9AA3-447E-A484-FAC301ECD392}" dt="2023-11-21T11:11:10.583" v="105" actId="478"/>
          <ac:spMkLst>
            <pc:docMk/>
            <pc:sldMk cId="2369326508" sldId="346"/>
            <ac:spMk id="2" creationId="{3401787B-F1B8-4781-0C86-DDEF4DCEF3FE}"/>
          </ac:spMkLst>
        </pc:spChg>
        <pc:spChg chg="add mod">
          <ac:chgData name="Ischanka, Eugen" userId="e4e12248-2210-4459-89e3-acb2dd10c338" providerId="ADAL" clId="{EDBCA537-9AA3-447E-A484-FAC301ECD392}" dt="2023-11-21T11:11:25.468" v="113" actId="1076"/>
          <ac:spMkLst>
            <pc:docMk/>
            <pc:sldMk cId="2369326508" sldId="346"/>
            <ac:spMk id="7" creationId="{6589FFF1-597B-2917-4F0E-B764A65DCAEB}"/>
          </ac:spMkLst>
        </pc:spChg>
        <pc:graphicFrameChg chg="mod">
          <ac:chgData name="Ischanka, Eugen" userId="e4e12248-2210-4459-89e3-acb2dd10c338" providerId="ADAL" clId="{EDBCA537-9AA3-447E-A484-FAC301ECD392}" dt="2023-11-21T11:19:57.245" v="179" actId="404"/>
          <ac:graphicFrameMkLst>
            <pc:docMk/>
            <pc:sldMk cId="2369326508" sldId="346"/>
            <ac:graphicFrameMk id="5" creationId="{C671E813-78AD-514F-430A-0FA468F16149}"/>
          </ac:graphicFrameMkLst>
        </pc:graphicFrameChg>
      </pc:sldChg>
      <pc:sldChg chg="addSp delSp modSp mod">
        <pc:chgData name="Ischanka, Eugen" userId="e4e12248-2210-4459-89e3-acb2dd10c338" providerId="ADAL" clId="{EDBCA537-9AA3-447E-A484-FAC301ECD392}" dt="2023-12-06T15:18:52.085" v="17490"/>
        <pc:sldMkLst>
          <pc:docMk/>
          <pc:sldMk cId="2920645228" sldId="347"/>
        </pc:sldMkLst>
        <pc:spChg chg="del">
          <ac:chgData name="Ischanka, Eugen" userId="e4e12248-2210-4459-89e3-acb2dd10c338" providerId="ADAL" clId="{EDBCA537-9AA3-447E-A484-FAC301ECD392}" dt="2023-11-28T11:39:40.260" v="2013" actId="478"/>
          <ac:spMkLst>
            <pc:docMk/>
            <pc:sldMk cId="2920645228" sldId="347"/>
            <ac:spMk id="2" creationId="{7467A27A-2494-51AD-0D72-82FEDD081CB8}"/>
          </ac:spMkLst>
        </pc:spChg>
        <pc:spChg chg="mod">
          <ac:chgData name="Ischanka, Eugen" userId="e4e12248-2210-4459-89e3-acb2dd10c338" providerId="ADAL" clId="{EDBCA537-9AA3-447E-A484-FAC301ECD392}" dt="2023-11-29T08:39:19.656" v="2197" actId="1076"/>
          <ac:spMkLst>
            <pc:docMk/>
            <pc:sldMk cId="2920645228" sldId="347"/>
            <ac:spMk id="3" creationId="{BB3A3234-DC35-B007-F4DA-12C6F852E1A2}"/>
          </ac:spMkLst>
        </pc:spChg>
        <pc:spChg chg="mod">
          <ac:chgData name="Ischanka, Eugen" userId="e4e12248-2210-4459-89e3-acb2dd10c338" providerId="ADAL" clId="{EDBCA537-9AA3-447E-A484-FAC301ECD392}" dt="2023-12-06T15:18:52.085" v="17490"/>
          <ac:spMkLst>
            <pc:docMk/>
            <pc:sldMk cId="2920645228" sldId="347"/>
            <ac:spMk id="4" creationId="{35B161F4-B42D-44B6-48B7-BC740B5B04D3}"/>
          </ac:spMkLst>
        </pc:spChg>
        <pc:spChg chg="del">
          <ac:chgData name="Ischanka, Eugen" userId="e4e12248-2210-4459-89e3-acb2dd10c338" providerId="ADAL" clId="{EDBCA537-9AA3-447E-A484-FAC301ECD392}" dt="2023-11-29T08:39:25.513" v="2198" actId="478"/>
          <ac:spMkLst>
            <pc:docMk/>
            <pc:sldMk cId="2920645228" sldId="347"/>
            <ac:spMk id="8" creationId="{292D3958-1F45-B0A9-36F9-50D746C94BD5}"/>
          </ac:spMkLst>
        </pc:spChg>
        <pc:spChg chg="mod">
          <ac:chgData name="Ischanka, Eugen" userId="e4e12248-2210-4459-89e3-acb2dd10c338" providerId="ADAL" clId="{EDBCA537-9AA3-447E-A484-FAC301ECD392}" dt="2023-11-29T09:07:34.672" v="2735" actId="1076"/>
          <ac:spMkLst>
            <pc:docMk/>
            <pc:sldMk cId="2920645228" sldId="347"/>
            <ac:spMk id="10" creationId="{D6FCAC41-1CA4-AB7B-E247-AE8350C897C2}"/>
          </ac:spMkLst>
        </pc:spChg>
        <pc:spChg chg="del">
          <ac:chgData name="Ischanka, Eugen" userId="e4e12248-2210-4459-89e3-acb2dd10c338" providerId="ADAL" clId="{EDBCA537-9AA3-447E-A484-FAC301ECD392}" dt="2023-11-29T08:39:25.513" v="2198" actId="478"/>
          <ac:spMkLst>
            <pc:docMk/>
            <pc:sldMk cId="2920645228" sldId="347"/>
            <ac:spMk id="11" creationId="{7DCE34C9-8EE7-7C33-2A95-29442C82D5B9}"/>
          </ac:spMkLst>
        </pc:spChg>
        <pc:spChg chg="add del mod">
          <ac:chgData name="Ischanka, Eugen" userId="e4e12248-2210-4459-89e3-acb2dd10c338" providerId="ADAL" clId="{EDBCA537-9AA3-447E-A484-FAC301ECD392}" dt="2023-11-29T08:39:28.544" v="2199" actId="478"/>
          <ac:spMkLst>
            <pc:docMk/>
            <pc:sldMk cId="2920645228" sldId="347"/>
            <ac:spMk id="12" creationId="{3CD443B2-C851-2831-3C94-482AB179CAC3}"/>
          </ac:spMkLst>
        </pc:spChg>
        <pc:spChg chg="del mod">
          <ac:chgData name="Ischanka, Eugen" userId="e4e12248-2210-4459-89e3-acb2dd10c338" providerId="ADAL" clId="{EDBCA537-9AA3-447E-A484-FAC301ECD392}" dt="2023-11-28T11:39:34.800" v="2011" actId="478"/>
          <ac:spMkLst>
            <pc:docMk/>
            <pc:sldMk cId="2920645228" sldId="347"/>
            <ac:spMk id="12" creationId="{53449D47-1170-C167-EFBB-B81D18451256}"/>
          </ac:spMkLst>
        </pc:spChg>
        <pc:spChg chg="add del mod">
          <ac:chgData name="Ischanka, Eugen" userId="e4e12248-2210-4459-89e3-acb2dd10c338" providerId="ADAL" clId="{EDBCA537-9AA3-447E-A484-FAC301ECD392}" dt="2023-11-28T11:39:36.256" v="2012" actId="478"/>
          <ac:spMkLst>
            <pc:docMk/>
            <pc:sldMk cId="2920645228" sldId="347"/>
            <ac:spMk id="13" creationId="{3B7D5FA5-168B-F1C8-0112-0883EC80589E}"/>
          </ac:spMkLst>
        </pc:spChg>
        <pc:spChg chg="mod">
          <ac:chgData name="Ischanka, Eugen" userId="e4e12248-2210-4459-89e3-acb2dd10c338" providerId="ADAL" clId="{EDBCA537-9AA3-447E-A484-FAC301ECD392}" dt="2023-11-29T09:06:48.511" v="2730" actId="1076"/>
          <ac:spMkLst>
            <pc:docMk/>
            <pc:sldMk cId="2920645228" sldId="347"/>
            <ac:spMk id="14" creationId="{699F90F1-FECD-CC5A-96BC-9FE130A622CF}"/>
          </ac:spMkLst>
        </pc:spChg>
        <pc:spChg chg="del">
          <ac:chgData name="Ischanka, Eugen" userId="e4e12248-2210-4459-89e3-acb2dd10c338" providerId="ADAL" clId="{EDBCA537-9AA3-447E-A484-FAC301ECD392}" dt="2023-11-29T08:39:25.513" v="2198" actId="478"/>
          <ac:spMkLst>
            <pc:docMk/>
            <pc:sldMk cId="2920645228" sldId="347"/>
            <ac:spMk id="15" creationId="{E87A7251-7A7E-86E6-8E05-47064CC4071D}"/>
          </ac:spMkLst>
        </pc:spChg>
        <pc:spChg chg="add del mod">
          <ac:chgData name="Ischanka, Eugen" userId="e4e12248-2210-4459-89e3-acb2dd10c338" providerId="ADAL" clId="{EDBCA537-9AA3-447E-A484-FAC301ECD392}" dt="2023-11-28T11:39:41.367" v="2014" actId="478"/>
          <ac:spMkLst>
            <pc:docMk/>
            <pc:sldMk cId="2920645228" sldId="347"/>
            <ac:spMk id="16" creationId="{C0E1F52D-3CBB-4527-548F-6865410712EA}"/>
          </ac:spMkLst>
        </pc:spChg>
        <pc:spChg chg="add del mod">
          <ac:chgData name="Ischanka, Eugen" userId="e4e12248-2210-4459-89e3-acb2dd10c338" providerId="ADAL" clId="{EDBCA537-9AA3-447E-A484-FAC301ECD392}" dt="2023-11-29T08:45:05.783" v="2277" actId="478"/>
          <ac:spMkLst>
            <pc:docMk/>
            <pc:sldMk cId="2920645228" sldId="347"/>
            <ac:spMk id="16" creationId="{FC7FF135-D86C-EE75-32FA-495822958AD3}"/>
          </ac:spMkLst>
        </pc:spChg>
        <pc:spChg chg="add mod">
          <ac:chgData name="Ischanka, Eugen" userId="e4e12248-2210-4459-89e3-acb2dd10c338" providerId="ADAL" clId="{EDBCA537-9AA3-447E-A484-FAC301ECD392}" dt="2023-11-29T08:52:10.453" v="2333" actId="1076"/>
          <ac:spMkLst>
            <pc:docMk/>
            <pc:sldMk cId="2920645228" sldId="347"/>
            <ac:spMk id="17" creationId="{50755127-DB8E-73D6-2BC0-F734D15A0617}"/>
          </ac:spMkLst>
        </pc:spChg>
        <pc:spChg chg="add del mod">
          <ac:chgData name="Ischanka, Eugen" userId="e4e12248-2210-4459-89e3-acb2dd10c338" providerId="ADAL" clId="{EDBCA537-9AA3-447E-A484-FAC301ECD392}" dt="2023-11-28T11:39:43.470" v="2015" actId="478"/>
          <ac:spMkLst>
            <pc:docMk/>
            <pc:sldMk cId="2920645228" sldId="347"/>
            <ac:spMk id="17" creationId="{D15A0702-A1AC-255E-7050-876A90438F3F}"/>
          </ac:spMkLst>
        </pc:spChg>
        <pc:spChg chg="del mod">
          <ac:chgData name="Ischanka, Eugen" userId="e4e12248-2210-4459-89e3-acb2dd10c338" providerId="ADAL" clId="{EDBCA537-9AA3-447E-A484-FAC301ECD392}" dt="2023-11-28T11:39:28.591" v="2010" actId="478"/>
          <ac:spMkLst>
            <pc:docMk/>
            <pc:sldMk cId="2920645228" sldId="347"/>
            <ac:spMk id="19" creationId="{7BCA35D3-653F-DCD5-E2F7-217D8BA56537}"/>
          </ac:spMkLst>
        </pc:spChg>
        <pc:spChg chg="add mod">
          <ac:chgData name="Ischanka, Eugen" userId="e4e12248-2210-4459-89e3-acb2dd10c338" providerId="ADAL" clId="{EDBCA537-9AA3-447E-A484-FAC301ECD392}" dt="2023-11-29T08:45:42.928" v="2317" actId="1038"/>
          <ac:spMkLst>
            <pc:docMk/>
            <pc:sldMk cId="2920645228" sldId="347"/>
            <ac:spMk id="19" creationId="{898B43F0-9C8B-DE72-4B2D-D71D311F924A}"/>
          </ac:spMkLst>
        </pc:spChg>
        <pc:spChg chg="add del mod">
          <ac:chgData name="Ischanka, Eugen" userId="e4e12248-2210-4459-89e3-acb2dd10c338" providerId="ADAL" clId="{EDBCA537-9AA3-447E-A484-FAC301ECD392}" dt="2023-11-29T08:58:39.975" v="2553" actId="478"/>
          <ac:spMkLst>
            <pc:docMk/>
            <pc:sldMk cId="2920645228" sldId="347"/>
            <ac:spMk id="24" creationId="{B2AE4094-1AD7-9536-72A2-41CA5A310C6B}"/>
          </ac:spMkLst>
        </pc:spChg>
        <pc:spChg chg="add mod">
          <ac:chgData name="Ischanka, Eugen" userId="e4e12248-2210-4459-89e3-acb2dd10c338" providerId="ADAL" clId="{EDBCA537-9AA3-447E-A484-FAC301ECD392}" dt="2023-11-29T09:04:33.945" v="2687" actId="1036"/>
          <ac:spMkLst>
            <pc:docMk/>
            <pc:sldMk cId="2920645228" sldId="347"/>
            <ac:spMk id="26" creationId="{5EF83382-DE8D-28E1-54D6-C0F3B81A8A6B}"/>
          </ac:spMkLst>
        </pc:spChg>
        <pc:graphicFrameChg chg="del">
          <ac:chgData name="Ischanka, Eugen" userId="e4e12248-2210-4459-89e3-acb2dd10c338" providerId="ADAL" clId="{EDBCA537-9AA3-447E-A484-FAC301ECD392}" dt="2023-11-29T08:39:25.513" v="2198" actId="478"/>
          <ac:graphicFrameMkLst>
            <pc:docMk/>
            <pc:sldMk cId="2920645228" sldId="347"/>
            <ac:graphicFrameMk id="5" creationId="{92F84B60-D3C0-F818-07B3-7184D3C5D84A}"/>
          </ac:graphicFrameMkLst>
        </pc:graphicFrameChg>
        <pc:graphicFrameChg chg="del">
          <ac:chgData name="Ischanka, Eugen" userId="e4e12248-2210-4459-89e3-acb2dd10c338" providerId="ADAL" clId="{EDBCA537-9AA3-447E-A484-FAC301ECD392}" dt="2023-11-29T08:39:25.513" v="2198" actId="478"/>
          <ac:graphicFrameMkLst>
            <pc:docMk/>
            <pc:sldMk cId="2920645228" sldId="347"/>
            <ac:graphicFrameMk id="6" creationId="{126E82FA-F4E4-EE54-FFBC-4796089EA515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08:45:42.928" v="2317" actId="1038"/>
          <ac:graphicFrameMkLst>
            <pc:docMk/>
            <pc:sldMk cId="2920645228" sldId="347"/>
            <ac:graphicFrameMk id="9" creationId="{5AD5AD8A-3D17-48F1-A08D-BEABCE5B11FE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4T06:12:16.903" v="16070" actId="13926"/>
          <ac:graphicFrameMkLst>
            <pc:docMk/>
            <pc:sldMk cId="2920645228" sldId="347"/>
            <ac:graphicFrameMk id="13" creationId="{DD7351E9-E580-E60B-8A3E-175B76614F0E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1-29T08:58:44.845" v="2554" actId="478"/>
          <ac:graphicFrameMkLst>
            <pc:docMk/>
            <pc:sldMk cId="2920645228" sldId="347"/>
            <ac:graphicFrameMk id="18" creationId="{78F56488-E524-A7B9-43B6-3C0D367FDB4E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7.772" v="17307"/>
          <ac:picMkLst>
            <pc:docMk/>
            <pc:sldMk cId="2920645228" sldId="347"/>
            <ac:picMk id="2" creationId="{6759CB68-35F6-B191-B030-3F5581DFE093}"/>
          </ac:picMkLst>
        </pc:picChg>
        <pc:picChg chg="add del mod">
          <ac:chgData name="Ischanka, Eugen" userId="e4e12248-2210-4459-89e3-acb2dd10c338" providerId="ADAL" clId="{EDBCA537-9AA3-447E-A484-FAC301ECD392}" dt="2023-11-29T08:50:40.813" v="2323" actId="478"/>
          <ac:picMkLst>
            <pc:docMk/>
            <pc:sldMk cId="2920645228" sldId="347"/>
            <ac:picMk id="1026" creationId="{D1AC3F04-1A70-8763-B4A7-9D73A368D39B}"/>
          </ac:picMkLst>
        </pc:picChg>
        <pc:picChg chg="add del">
          <ac:chgData name="Ischanka, Eugen" userId="e4e12248-2210-4459-89e3-acb2dd10c338" providerId="ADAL" clId="{EDBCA537-9AA3-447E-A484-FAC301ECD392}" dt="2023-11-29T08:51:30.079" v="2325" actId="478"/>
          <ac:picMkLst>
            <pc:docMk/>
            <pc:sldMk cId="2920645228" sldId="347"/>
            <ac:picMk id="1028" creationId="{5401BCC3-9EF2-8433-214E-0186B5CA90D8}"/>
          </ac:picMkLst>
        </pc:picChg>
        <pc:picChg chg="add del">
          <ac:chgData name="Ischanka, Eugen" userId="e4e12248-2210-4459-89e3-acb2dd10c338" providerId="ADAL" clId="{EDBCA537-9AA3-447E-A484-FAC301ECD392}" dt="2023-11-29T08:51:39.983" v="2327" actId="478"/>
          <ac:picMkLst>
            <pc:docMk/>
            <pc:sldMk cId="2920645228" sldId="347"/>
            <ac:picMk id="1030" creationId="{47D8A7BA-8AA5-AE6E-EE73-8076527449C8}"/>
          </ac:picMkLst>
        </pc:picChg>
        <pc:picChg chg="add mod">
          <ac:chgData name="Ischanka, Eugen" userId="e4e12248-2210-4459-89e3-acb2dd10c338" providerId="ADAL" clId="{EDBCA537-9AA3-447E-A484-FAC301ECD392}" dt="2023-11-29T09:04:33.945" v="2687" actId="1036"/>
          <ac:picMkLst>
            <pc:docMk/>
            <pc:sldMk cId="2920645228" sldId="347"/>
            <ac:picMk id="1032" creationId="{250CDC33-751D-019C-6B87-102FF5D090A7}"/>
          </ac:picMkLst>
        </pc:picChg>
        <pc:cxnChg chg="add mod">
          <ac:chgData name="Ischanka, Eugen" userId="e4e12248-2210-4459-89e3-acb2dd10c338" providerId="ADAL" clId="{EDBCA537-9AA3-447E-A484-FAC301ECD392}" dt="2023-11-29T08:55:10.008" v="2379" actId="14100"/>
          <ac:cxnSpMkLst>
            <pc:docMk/>
            <pc:sldMk cId="2920645228" sldId="347"/>
            <ac:cxnSpMk id="21" creationId="{F9BC6DA3-BDA5-E7C6-378E-C2ACCE01DAC1}"/>
          </ac:cxnSpMkLst>
        </pc:cxnChg>
      </pc:sldChg>
      <pc:sldChg chg="addSp delSp modSp del mod modShow">
        <pc:chgData name="Ischanka, Eugen" userId="e4e12248-2210-4459-89e3-acb2dd10c338" providerId="ADAL" clId="{EDBCA537-9AA3-447E-A484-FAC301ECD392}" dt="2023-11-28T11:38:42.439" v="2006" actId="47"/>
        <pc:sldMkLst>
          <pc:docMk/>
          <pc:sldMk cId="1974938439" sldId="349"/>
        </pc:sldMkLst>
        <pc:spChg chg="del mod">
          <ac:chgData name="Ischanka, Eugen" userId="e4e12248-2210-4459-89e3-acb2dd10c338" providerId="ADAL" clId="{EDBCA537-9AA3-447E-A484-FAC301ECD392}" dt="2023-11-21T11:23:17.316" v="248" actId="478"/>
          <ac:spMkLst>
            <pc:docMk/>
            <pc:sldMk cId="1974938439" sldId="349"/>
            <ac:spMk id="2" creationId="{1C793B39-6F0A-1A22-8A6F-76FCA1272D0A}"/>
          </ac:spMkLst>
        </pc:spChg>
        <pc:spChg chg="add del mod">
          <ac:chgData name="Ischanka, Eugen" userId="e4e12248-2210-4459-89e3-acb2dd10c338" providerId="ADAL" clId="{EDBCA537-9AA3-447E-A484-FAC301ECD392}" dt="2023-11-21T11:21:31.817" v="205" actId="478"/>
          <ac:spMkLst>
            <pc:docMk/>
            <pc:sldMk cId="1974938439" sldId="349"/>
            <ac:spMk id="5" creationId="{338ED7D8-0DFB-DE14-077C-ED03B8C3F1FF}"/>
          </ac:spMkLst>
        </pc:spChg>
        <pc:spChg chg="add mod">
          <ac:chgData name="Ischanka, Eugen" userId="e4e12248-2210-4459-89e3-acb2dd10c338" providerId="ADAL" clId="{EDBCA537-9AA3-447E-A484-FAC301ECD392}" dt="2023-11-21T11:22:01.524" v="245" actId="1076"/>
          <ac:spMkLst>
            <pc:docMk/>
            <pc:sldMk cId="1974938439" sldId="349"/>
            <ac:spMk id="6" creationId="{125BE5A1-9D79-2417-8774-A3F2022F4966}"/>
          </ac:spMkLst>
        </pc:spChg>
      </pc:sldChg>
      <pc:sldChg chg="addSp modSp mod">
        <pc:chgData name="Ischanka, Eugen" userId="e4e12248-2210-4459-89e3-acb2dd10c338" providerId="ADAL" clId="{EDBCA537-9AA3-447E-A484-FAC301ECD392}" dt="2023-12-06T15:18:57.426" v="17492"/>
        <pc:sldMkLst>
          <pc:docMk/>
          <pc:sldMk cId="4125406410" sldId="350"/>
        </pc:sldMkLst>
        <pc:spChg chg="mod">
          <ac:chgData name="Ischanka, Eugen" userId="e4e12248-2210-4459-89e3-acb2dd10c338" providerId="ADAL" clId="{EDBCA537-9AA3-447E-A484-FAC301ECD392}" dt="2023-12-06T15:18:57.426" v="17492"/>
          <ac:spMkLst>
            <pc:docMk/>
            <pc:sldMk cId="4125406410" sldId="350"/>
            <ac:spMk id="4" creationId="{866B36A7-9FEC-C98E-A833-4C28AC6FE691}"/>
          </ac:spMkLst>
        </pc:spChg>
        <pc:spChg chg="mod">
          <ac:chgData name="Ischanka, Eugen" userId="e4e12248-2210-4459-89e3-acb2dd10c338" providerId="ADAL" clId="{EDBCA537-9AA3-447E-A484-FAC301ECD392}" dt="2023-11-29T10:02:23.593" v="4913" actId="14100"/>
          <ac:spMkLst>
            <pc:docMk/>
            <pc:sldMk cId="4125406410" sldId="350"/>
            <ac:spMk id="9" creationId="{6DF4B5DA-47CE-1690-6DD8-BDDFC75975EA}"/>
          </ac:spMkLst>
        </pc:spChg>
        <pc:spChg chg="mod">
          <ac:chgData name="Ischanka, Eugen" userId="e4e12248-2210-4459-89e3-acb2dd10c338" providerId="ADAL" clId="{EDBCA537-9AA3-447E-A484-FAC301ECD392}" dt="2023-11-29T10:42:45.276" v="6628" actId="20577"/>
          <ac:spMkLst>
            <pc:docMk/>
            <pc:sldMk cId="4125406410" sldId="350"/>
            <ac:spMk id="10" creationId="{408E6D79-3C01-2153-BF7C-F323939DC5B9}"/>
          </ac:spMkLst>
        </pc:spChg>
        <pc:spChg chg="mod">
          <ac:chgData name="Ischanka, Eugen" userId="e4e12248-2210-4459-89e3-acb2dd10c338" providerId="ADAL" clId="{EDBCA537-9AA3-447E-A484-FAC301ECD392}" dt="2023-11-29T10:02:36.092" v="4915" actId="1076"/>
          <ac:spMkLst>
            <pc:docMk/>
            <pc:sldMk cId="4125406410" sldId="350"/>
            <ac:spMk id="11" creationId="{12CD939D-CBEF-84F7-86E4-194DB0D5F7FE}"/>
          </ac:spMkLst>
        </pc:spChg>
        <pc:spChg chg="mod">
          <ac:chgData name="Ischanka, Eugen" userId="e4e12248-2210-4459-89e3-acb2dd10c338" providerId="ADAL" clId="{EDBCA537-9AA3-447E-A484-FAC301ECD392}" dt="2023-11-29T10:01:38.782" v="4905" actId="1076"/>
          <ac:spMkLst>
            <pc:docMk/>
            <pc:sldMk cId="4125406410" sldId="350"/>
            <ac:spMk id="12" creationId="{D37A4849-0BC7-7CC8-6762-063878B66069}"/>
          </ac:spMkLst>
        </pc:spChg>
        <pc:graphicFrameChg chg="mod modGraphic">
          <ac:chgData name="Ischanka, Eugen" userId="e4e12248-2210-4459-89e3-acb2dd10c338" providerId="ADAL" clId="{EDBCA537-9AA3-447E-A484-FAC301ECD392}" dt="2023-11-29T10:15:26.669" v="5664" actId="120"/>
          <ac:graphicFrameMkLst>
            <pc:docMk/>
            <pc:sldMk cId="4125406410" sldId="350"/>
            <ac:graphicFrameMk id="5" creationId="{5E64B79C-7823-79D6-D740-5F685432FC5D}"/>
          </ac:graphicFrameMkLst>
        </pc:graphicFrameChg>
        <pc:graphicFrameChg chg="mod">
          <ac:chgData name="Ischanka, Eugen" userId="e4e12248-2210-4459-89e3-acb2dd10c338" providerId="ADAL" clId="{EDBCA537-9AA3-447E-A484-FAC301ECD392}" dt="2023-11-29T10:02:51.411" v="4919"/>
          <ac:graphicFrameMkLst>
            <pc:docMk/>
            <pc:sldMk cId="4125406410" sldId="350"/>
            <ac:graphicFrameMk id="8" creationId="{1F65C193-8DF8-9A3B-A091-993DD8ADB589}"/>
          </ac:graphicFrameMkLst>
        </pc:graphicFrameChg>
        <pc:picChg chg="add mod">
          <ac:chgData name="Ischanka, Eugen" userId="e4e12248-2210-4459-89e3-acb2dd10c338" providerId="ADAL" clId="{EDBCA537-9AA3-447E-A484-FAC301ECD392}" dt="2023-12-06T15:09:12.226" v="17309"/>
          <ac:picMkLst>
            <pc:docMk/>
            <pc:sldMk cId="4125406410" sldId="350"/>
            <ac:picMk id="2" creationId="{FF8DB711-635C-2D3D-75E2-E127CCE4A545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59.829" v="17493"/>
        <pc:sldMkLst>
          <pc:docMk/>
          <pc:sldMk cId="2096330239" sldId="351"/>
        </pc:sldMkLst>
        <pc:spChg chg="add del mod">
          <ac:chgData name="Ischanka, Eugen" userId="e4e12248-2210-4459-89e3-acb2dd10c338" providerId="ADAL" clId="{EDBCA537-9AA3-447E-A484-FAC301ECD392}" dt="2023-11-28T11:42:06.025" v="2017" actId="478"/>
          <ac:spMkLst>
            <pc:docMk/>
            <pc:sldMk cId="2096330239" sldId="351"/>
            <ac:spMk id="2" creationId="{38263E92-ADD0-6D05-AAA9-82D675F71C1B}"/>
          </ac:spMkLst>
        </pc:spChg>
        <pc:spChg chg="mod">
          <ac:chgData name="Ischanka, Eugen" userId="e4e12248-2210-4459-89e3-acb2dd10c338" providerId="ADAL" clId="{EDBCA537-9AA3-447E-A484-FAC301ECD392}" dt="2023-11-29T10:23:34.837" v="6420" actId="20577"/>
          <ac:spMkLst>
            <pc:docMk/>
            <pc:sldMk cId="2096330239" sldId="351"/>
            <ac:spMk id="3" creationId="{31BE7C5E-4B4F-B265-7B46-F853444A45DC}"/>
          </ac:spMkLst>
        </pc:spChg>
        <pc:spChg chg="mod">
          <ac:chgData name="Ischanka, Eugen" userId="e4e12248-2210-4459-89e3-acb2dd10c338" providerId="ADAL" clId="{EDBCA537-9AA3-447E-A484-FAC301ECD392}" dt="2023-12-06T15:18:59.829" v="17493"/>
          <ac:spMkLst>
            <pc:docMk/>
            <pc:sldMk cId="2096330239" sldId="351"/>
            <ac:spMk id="4" creationId="{866B36A7-9FEC-C98E-A833-4C28AC6FE691}"/>
          </ac:spMkLst>
        </pc:spChg>
        <pc:spChg chg="add mod">
          <ac:chgData name="Ischanka, Eugen" userId="e4e12248-2210-4459-89e3-acb2dd10c338" providerId="ADAL" clId="{EDBCA537-9AA3-447E-A484-FAC301ECD392}" dt="2023-11-29T10:27:41.525" v="6449" actId="1076"/>
          <ac:spMkLst>
            <pc:docMk/>
            <pc:sldMk cId="2096330239" sldId="351"/>
            <ac:spMk id="5" creationId="{278E92B4-E7AE-4712-76CF-B316A6C26625}"/>
          </ac:spMkLst>
        </pc:spChg>
        <pc:spChg chg="del">
          <ac:chgData name="Ischanka, Eugen" userId="e4e12248-2210-4459-89e3-acb2dd10c338" providerId="ADAL" clId="{EDBCA537-9AA3-447E-A484-FAC301ECD392}" dt="2023-11-28T11:42:08.075" v="2018" actId="478"/>
          <ac:spMkLst>
            <pc:docMk/>
            <pc:sldMk cId="2096330239" sldId="351"/>
            <ac:spMk id="5" creationId="{82C48CC5-C5E1-0DDD-65F8-72F0D40F7004}"/>
          </ac:spMkLst>
        </pc:spChg>
        <pc:spChg chg="add del mod">
          <ac:chgData name="Ischanka, Eugen" userId="e4e12248-2210-4459-89e3-acb2dd10c338" providerId="ADAL" clId="{EDBCA537-9AA3-447E-A484-FAC301ECD392}" dt="2023-11-28T11:42:09.025" v="2019" actId="478"/>
          <ac:spMkLst>
            <pc:docMk/>
            <pc:sldMk cId="2096330239" sldId="351"/>
            <ac:spMk id="6" creationId="{E9502970-F319-7E87-E9D7-9B373ADAC60C}"/>
          </ac:spMkLst>
        </pc:spChg>
        <pc:spChg chg="add del mod">
          <ac:chgData name="Ischanka, Eugen" userId="e4e12248-2210-4459-89e3-acb2dd10c338" providerId="ADAL" clId="{EDBCA537-9AA3-447E-A484-FAC301ECD392}" dt="2023-11-29T10:41:14.932" v="6615" actId="478"/>
          <ac:spMkLst>
            <pc:docMk/>
            <pc:sldMk cId="2096330239" sldId="351"/>
            <ac:spMk id="8" creationId="{BDFF9E89-46D2-B808-F358-F743B8DF0B54}"/>
          </ac:spMkLst>
        </pc:spChg>
        <pc:spChg chg="del">
          <ac:chgData name="Ischanka, Eugen" userId="e4e12248-2210-4459-89e3-acb2dd10c338" providerId="ADAL" clId="{EDBCA537-9AA3-447E-A484-FAC301ECD392}" dt="2023-11-28T11:42:04.164" v="2016" actId="478"/>
          <ac:spMkLst>
            <pc:docMk/>
            <pc:sldMk cId="2096330239" sldId="351"/>
            <ac:spMk id="8" creationId="{C5AB0DB2-8F97-63F5-8211-F533CC55F677}"/>
          </ac:spMkLst>
        </pc:spChg>
        <pc:spChg chg="add del mod">
          <ac:chgData name="Ischanka, Eugen" userId="e4e12248-2210-4459-89e3-acb2dd10c338" providerId="ADAL" clId="{EDBCA537-9AA3-447E-A484-FAC301ECD392}" dt="2023-11-29T10:37:55.569" v="6580" actId="478"/>
          <ac:spMkLst>
            <pc:docMk/>
            <pc:sldMk cId="2096330239" sldId="351"/>
            <ac:spMk id="10" creationId="{A6D24E6C-2ABA-6591-3C4D-0CB78A1EFFD1}"/>
          </ac:spMkLst>
        </pc:spChg>
        <pc:spChg chg="mod">
          <ac:chgData name="Ischanka, Eugen" userId="e4e12248-2210-4459-89e3-acb2dd10c338" providerId="ADAL" clId="{EDBCA537-9AA3-447E-A484-FAC301ECD392}" dt="2023-11-29T10:27:41.525" v="6449" actId="1076"/>
          <ac:spMkLst>
            <pc:docMk/>
            <pc:sldMk cId="2096330239" sldId="351"/>
            <ac:spMk id="13" creationId="{881E85D8-1C89-67D7-A81A-33EBCC439BD9}"/>
          </ac:spMkLst>
        </pc:spChg>
        <pc:spChg chg="mod">
          <ac:chgData name="Ischanka, Eugen" userId="e4e12248-2210-4459-89e3-acb2dd10c338" providerId="ADAL" clId="{EDBCA537-9AA3-447E-A484-FAC301ECD392}" dt="2023-11-29T10:23:55.858" v="6421" actId="1076"/>
          <ac:spMkLst>
            <pc:docMk/>
            <pc:sldMk cId="2096330239" sldId="351"/>
            <ac:spMk id="15" creationId="{21CB93CD-13F6-688B-F382-0AFEC36E71CB}"/>
          </ac:spMkLst>
        </pc:spChg>
        <pc:spChg chg="add mod">
          <ac:chgData name="Ischanka, Eugen" userId="e4e12248-2210-4459-89e3-acb2dd10c338" providerId="ADAL" clId="{EDBCA537-9AA3-447E-A484-FAC301ECD392}" dt="2023-12-06T15:09:36.822" v="17327" actId="1035"/>
          <ac:spMkLst>
            <pc:docMk/>
            <pc:sldMk cId="2096330239" sldId="351"/>
            <ac:spMk id="16" creationId="{CC30EBEF-EC7F-2F74-173C-F0E1B99C725D}"/>
          </ac:spMkLst>
        </pc:spChg>
        <pc:spChg chg="del">
          <ac:chgData name="Ischanka, Eugen" userId="e4e12248-2210-4459-89e3-acb2dd10c338" providerId="ADAL" clId="{EDBCA537-9AA3-447E-A484-FAC301ECD392}" dt="2023-11-29T10:17:26.046" v="5666" actId="478"/>
          <ac:spMkLst>
            <pc:docMk/>
            <pc:sldMk cId="2096330239" sldId="351"/>
            <ac:spMk id="18" creationId="{80AC54C9-A6F5-8C33-7E3D-96004D0EFEE6}"/>
          </ac:spMkLst>
        </pc:spChg>
        <pc:spChg chg="del">
          <ac:chgData name="Ischanka, Eugen" userId="e4e12248-2210-4459-89e3-acb2dd10c338" providerId="ADAL" clId="{EDBCA537-9AA3-447E-A484-FAC301ECD392}" dt="2023-11-29T10:17:26.046" v="5666" actId="478"/>
          <ac:spMkLst>
            <pc:docMk/>
            <pc:sldMk cId="2096330239" sldId="351"/>
            <ac:spMk id="19" creationId="{6E9200C9-485F-9D38-1EBC-1B496B53E159}"/>
          </ac:spMkLst>
        </pc:spChg>
        <pc:spChg chg="del">
          <ac:chgData name="Ischanka, Eugen" userId="e4e12248-2210-4459-89e3-acb2dd10c338" providerId="ADAL" clId="{EDBCA537-9AA3-447E-A484-FAC301ECD392}" dt="2023-11-29T10:17:26.046" v="5666" actId="478"/>
          <ac:spMkLst>
            <pc:docMk/>
            <pc:sldMk cId="2096330239" sldId="351"/>
            <ac:spMk id="20" creationId="{FB0A2DB0-8933-E31B-48D3-D36A83BD97A7}"/>
          </ac:spMkLst>
        </pc:spChg>
        <pc:spChg chg="add mod">
          <ac:chgData name="Ischanka, Eugen" userId="e4e12248-2210-4459-89e3-acb2dd10c338" providerId="ADAL" clId="{EDBCA537-9AA3-447E-A484-FAC301ECD392}" dt="2023-11-29T10:32:08.754" v="6543" actId="14100"/>
          <ac:spMkLst>
            <pc:docMk/>
            <pc:sldMk cId="2096330239" sldId="351"/>
            <ac:spMk id="21" creationId="{3681EB81-EAB2-7D09-6AE2-A49E3257774E}"/>
          </ac:spMkLst>
        </pc:spChg>
        <pc:spChg chg="add mod">
          <ac:chgData name="Ischanka, Eugen" userId="e4e12248-2210-4459-89e3-acb2dd10c338" providerId="ADAL" clId="{EDBCA537-9AA3-447E-A484-FAC301ECD392}" dt="2023-12-06T15:09:36.822" v="17327" actId="1035"/>
          <ac:spMkLst>
            <pc:docMk/>
            <pc:sldMk cId="2096330239" sldId="351"/>
            <ac:spMk id="22" creationId="{1ED9DD32-314C-FB79-286D-597660854572}"/>
          </ac:spMkLst>
        </pc:spChg>
        <pc:spChg chg="add mod">
          <ac:chgData name="Ischanka, Eugen" userId="e4e12248-2210-4459-89e3-acb2dd10c338" providerId="ADAL" clId="{EDBCA537-9AA3-447E-A484-FAC301ECD392}" dt="2023-12-06T15:09:36.822" v="17327" actId="1035"/>
          <ac:spMkLst>
            <pc:docMk/>
            <pc:sldMk cId="2096330239" sldId="351"/>
            <ac:spMk id="24" creationId="{7935CC5C-5F92-A5F9-F250-2D4E3075287B}"/>
          </ac:spMkLst>
        </pc:spChg>
        <pc:graphicFrameChg chg="add mod modGraphic">
          <ac:chgData name="Ischanka, Eugen" userId="e4e12248-2210-4459-89e3-acb2dd10c338" providerId="ADAL" clId="{EDBCA537-9AA3-447E-A484-FAC301ECD392}" dt="2023-12-03T10:00:04.825" v="14929" actId="13926"/>
          <ac:graphicFrameMkLst>
            <pc:docMk/>
            <pc:sldMk cId="2096330239" sldId="351"/>
            <ac:graphicFrameMk id="2" creationId="{C51BF06F-3D74-A21C-6100-9854BB2A5ABA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6T15:09:36.822" v="17327" actId="1035"/>
          <ac:graphicFrameMkLst>
            <pc:docMk/>
            <pc:sldMk cId="2096330239" sldId="351"/>
            <ac:graphicFrameMk id="6" creationId="{E447E909-1F1F-457C-22B7-99A7166E5FF4}"/>
          </ac:graphicFrameMkLst>
        </pc:graphicFrameChg>
        <pc:graphicFrameChg chg="mod">
          <ac:chgData name="Ischanka, Eugen" userId="e4e12248-2210-4459-89e3-acb2dd10c338" providerId="ADAL" clId="{EDBCA537-9AA3-447E-A484-FAC301ECD392}" dt="2023-11-29T10:27:41.525" v="6449" actId="1076"/>
          <ac:graphicFrameMkLst>
            <pc:docMk/>
            <pc:sldMk cId="2096330239" sldId="351"/>
            <ac:graphicFrameMk id="7" creationId="{2721710C-2549-5EBD-2C2E-42FD37F624B9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6T15:09:36.822" v="17327" actId="1035"/>
          <ac:graphicFrameMkLst>
            <pc:docMk/>
            <pc:sldMk cId="2096330239" sldId="351"/>
            <ac:graphicFrameMk id="9" creationId="{812DEDA1-82F2-0BEE-CD6F-ADE207D4A942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6T15:09:36.822" v="17327" actId="1035"/>
          <ac:graphicFrameMkLst>
            <pc:docMk/>
            <pc:sldMk cId="2096330239" sldId="351"/>
            <ac:graphicFrameMk id="11" creationId="{B8F5C938-6CD6-DB40-226B-985736A5A5C7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1-29T10:25:50.431" v="6432" actId="478"/>
          <ac:graphicFrameMkLst>
            <pc:docMk/>
            <pc:sldMk cId="2096330239" sldId="351"/>
            <ac:graphicFrameMk id="12" creationId="{0CB00D42-42A9-9EAE-BECE-944D20913F1F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10:23:58.305" v="6422" actId="1076"/>
          <ac:graphicFrameMkLst>
            <pc:docMk/>
            <pc:sldMk cId="2096330239" sldId="351"/>
            <ac:graphicFrameMk id="14" creationId="{A25A10E0-A538-1F56-1B76-53DC1C86844C}"/>
          </ac:graphicFrameMkLst>
        </pc:graphicFrameChg>
        <pc:graphicFrameChg chg="del">
          <ac:chgData name="Ischanka, Eugen" userId="e4e12248-2210-4459-89e3-acb2dd10c338" providerId="ADAL" clId="{EDBCA537-9AA3-447E-A484-FAC301ECD392}" dt="2023-11-29T10:17:26.046" v="5666" actId="478"/>
          <ac:graphicFrameMkLst>
            <pc:docMk/>
            <pc:sldMk cId="2096330239" sldId="351"/>
            <ac:graphicFrameMk id="17" creationId="{2AC2DFBD-BF4B-D190-3524-D40F407875C1}"/>
          </ac:graphicFrameMkLst>
        </pc:graphicFrameChg>
        <pc:picChg chg="add mod">
          <ac:chgData name="Ischanka, Eugen" userId="e4e12248-2210-4459-89e3-acb2dd10c338" providerId="ADAL" clId="{EDBCA537-9AA3-447E-A484-FAC301ECD392}" dt="2023-12-06T15:09:13.827" v="17310"/>
          <ac:picMkLst>
            <pc:docMk/>
            <pc:sldMk cId="2096330239" sldId="351"/>
            <ac:picMk id="8" creationId="{E94E6FEB-7F5B-10DA-E1D0-7BC087B83B71}"/>
          </ac:picMkLst>
        </pc:picChg>
        <pc:picChg chg="add mod">
          <ac:chgData name="Ischanka, Eugen" userId="e4e12248-2210-4459-89e3-acb2dd10c338" providerId="ADAL" clId="{EDBCA537-9AA3-447E-A484-FAC301ECD392}" dt="2023-12-06T15:09:36.822" v="17327" actId="1035"/>
          <ac:picMkLst>
            <pc:docMk/>
            <pc:sldMk cId="2096330239" sldId="351"/>
            <ac:picMk id="23" creationId="{A5A3FDCB-0040-53EF-F6D4-FFE4F56F9C0E}"/>
          </ac:picMkLst>
        </pc:picChg>
        <pc:picChg chg="add mod">
          <ac:chgData name="Ischanka, Eugen" userId="e4e12248-2210-4459-89e3-acb2dd10c338" providerId="ADAL" clId="{EDBCA537-9AA3-447E-A484-FAC301ECD392}" dt="2023-12-06T15:09:36.822" v="17327" actId="1035"/>
          <ac:picMkLst>
            <pc:docMk/>
            <pc:sldMk cId="2096330239" sldId="351"/>
            <ac:picMk id="25" creationId="{5BD43733-ACB9-A07F-562F-C45520AFE0FC}"/>
          </ac:picMkLst>
        </pc:picChg>
        <pc:picChg chg="add mod">
          <ac:chgData name="Ischanka, Eugen" userId="e4e12248-2210-4459-89e3-acb2dd10c338" providerId="ADAL" clId="{EDBCA537-9AA3-447E-A484-FAC301ECD392}" dt="2023-12-06T15:09:36.822" v="17327" actId="1035"/>
          <ac:picMkLst>
            <pc:docMk/>
            <pc:sldMk cId="2096330239" sldId="351"/>
            <ac:picMk id="3074" creationId="{B24B98CB-AD3E-92AE-6F81-2D9CEF72E913}"/>
          </ac:picMkLst>
        </pc:picChg>
        <pc:cxnChg chg="add mod">
          <ac:chgData name="Ischanka, Eugen" userId="e4e12248-2210-4459-89e3-acb2dd10c338" providerId="ADAL" clId="{EDBCA537-9AA3-447E-A484-FAC301ECD392}" dt="2023-11-29T10:41:05.586" v="6612" actId="14100"/>
          <ac:cxnSpMkLst>
            <pc:docMk/>
            <pc:sldMk cId="2096330239" sldId="351"/>
            <ac:cxnSpMk id="26" creationId="{7CA237AF-7582-CA7C-9834-A8E672A5009B}"/>
          </ac:cxnSpMkLst>
        </pc:cxnChg>
        <pc:cxnChg chg="add mod">
          <ac:chgData name="Ischanka, Eugen" userId="e4e12248-2210-4459-89e3-acb2dd10c338" providerId="ADAL" clId="{EDBCA537-9AA3-447E-A484-FAC301ECD392}" dt="2023-11-29T10:41:09.086" v="6613" actId="14100"/>
          <ac:cxnSpMkLst>
            <pc:docMk/>
            <pc:sldMk cId="2096330239" sldId="351"/>
            <ac:cxnSpMk id="28" creationId="{5D29392E-1617-5A8D-FF40-3F213F82FB64}"/>
          </ac:cxnSpMkLst>
        </pc:cxnChg>
        <pc:cxnChg chg="add mod">
          <ac:chgData name="Ischanka, Eugen" userId="e4e12248-2210-4459-89e3-acb2dd10c338" providerId="ADAL" clId="{EDBCA537-9AA3-447E-A484-FAC301ECD392}" dt="2023-11-29T10:41:11.153" v="6614" actId="14100"/>
          <ac:cxnSpMkLst>
            <pc:docMk/>
            <pc:sldMk cId="2096330239" sldId="351"/>
            <ac:cxnSpMk id="32" creationId="{E32A4EDC-5EB1-E810-2197-D79680308962}"/>
          </ac:cxnSpMkLst>
        </pc:cxnChg>
      </pc:sldChg>
      <pc:sldChg chg="addSp delSp modSp del mod">
        <pc:chgData name="Ischanka, Eugen" userId="e4e12248-2210-4459-89e3-acb2dd10c338" providerId="ADAL" clId="{EDBCA537-9AA3-447E-A484-FAC301ECD392}" dt="2023-12-04T08:48:13.954" v="16308" actId="47"/>
        <pc:sldMkLst>
          <pc:docMk/>
          <pc:sldMk cId="1816946488" sldId="353"/>
        </pc:sldMkLst>
        <pc:spChg chg="del mod">
          <ac:chgData name="Ischanka, Eugen" userId="e4e12248-2210-4459-89e3-acb2dd10c338" providerId="ADAL" clId="{EDBCA537-9AA3-447E-A484-FAC301ECD392}" dt="2023-11-29T12:09:35.402" v="9459" actId="478"/>
          <ac:spMkLst>
            <pc:docMk/>
            <pc:sldMk cId="1816946488" sldId="353"/>
            <ac:spMk id="2" creationId="{06EA805A-E95A-50B5-26B8-F96A1BE7F5DC}"/>
          </ac:spMkLst>
        </pc:spChg>
        <pc:spChg chg="add mod">
          <ac:chgData name="Ischanka, Eugen" userId="e4e12248-2210-4459-89e3-acb2dd10c338" providerId="ADAL" clId="{EDBCA537-9AA3-447E-A484-FAC301ECD392}" dt="2023-11-30T07:09:17.408" v="12217" actId="1076"/>
          <ac:spMkLst>
            <pc:docMk/>
            <pc:sldMk cId="1816946488" sldId="353"/>
            <ac:spMk id="2" creationId="{B0F3964D-801E-6F53-46D0-9CF2F93F2E9E}"/>
          </ac:spMkLst>
        </pc:spChg>
        <pc:spChg chg="del mod">
          <ac:chgData name="Ischanka, Eugen" userId="e4e12248-2210-4459-89e3-acb2dd10c338" providerId="ADAL" clId="{EDBCA537-9AA3-447E-A484-FAC301ECD392}" dt="2023-12-03T10:35:43.085" v="15312" actId="478"/>
          <ac:spMkLst>
            <pc:docMk/>
            <pc:sldMk cId="1816946488" sldId="353"/>
            <ac:spMk id="5" creationId="{8AB7F037-B181-46FE-DFAF-7309DCA52021}"/>
          </ac:spMkLst>
        </pc:spChg>
        <pc:spChg chg="add del mod">
          <ac:chgData name="Ischanka, Eugen" userId="e4e12248-2210-4459-89e3-acb2dd10c338" providerId="ADAL" clId="{EDBCA537-9AA3-447E-A484-FAC301ECD392}" dt="2023-11-28T11:51:13.065" v="2032" actId="478"/>
          <ac:spMkLst>
            <pc:docMk/>
            <pc:sldMk cId="1816946488" sldId="353"/>
            <ac:spMk id="5" creationId="{B5D36531-8000-FE38-406D-D29EC6FE68FB}"/>
          </ac:spMkLst>
        </pc:spChg>
        <pc:spChg chg="del mod">
          <ac:chgData name="Ischanka, Eugen" userId="e4e12248-2210-4459-89e3-acb2dd10c338" providerId="ADAL" clId="{EDBCA537-9AA3-447E-A484-FAC301ECD392}" dt="2023-12-03T10:35:47.515" v="15314" actId="478"/>
          <ac:spMkLst>
            <pc:docMk/>
            <pc:sldMk cId="1816946488" sldId="353"/>
            <ac:spMk id="6" creationId="{A156ED70-1655-8129-2811-B92A20E53338}"/>
          </ac:spMkLst>
        </pc:spChg>
        <pc:spChg chg="del">
          <ac:chgData name="Ischanka, Eugen" userId="e4e12248-2210-4459-89e3-acb2dd10c338" providerId="ADAL" clId="{EDBCA537-9AA3-447E-A484-FAC301ECD392}" dt="2023-11-28T11:51:10.787" v="2031" actId="478"/>
          <ac:spMkLst>
            <pc:docMk/>
            <pc:sldMk cId="1816946488" sldId="353"/>
            <ac:spMk id="6" creationId="{BB786AB8-764D-109E-D0C3-FDC2901CBF7A}"/>
          </ac:spMkLst>
        </pc:spChg>
        <pc:spChg chg="del mod">
          <ac:chgData name="Ischanka, Eugen" userId="e4e12248-2210-4459-89e3-acb2dd10c338" providerId="ADAL" clId="{EDBCA537-9AA3-447E-A484-FAC301ECD392}" dt="2023-12-03T10:35:46.715" v="15313" actId="478"/>
          <ac:spMkLst>
            <pc:docMk/>
            <pc:sldMk cId="1816946488" sldId="353"/>
            <ac:spMk id="10" creationId="{026E4F25-DC3B-F9BC-C487-359382D2D60C}"/>
          </ac:spMkLst>
        </pc:spChg>
        <pc:spChg chg="del">
          <ac:chgData name="Ischanka, Eugen" userId="e4e12248-2210-4459-89e3-acb2dd10c338" providerId="ADAL" clId="{EDBCA537-9AA3-447E-A484-FAC301ECD392}" dt="2023-12-03T09:55:44.864" v="14891" actId="478"/>
          <ac:spMkLst>
            <pc:docMk/>
            <pc:sldMk cId="1816946488" sldId="353"/>
            <ac:spMk id="11" creationId="{C7818A42-EC56-C93E-2478-C166D6BA0D4F}"/>
          </ac:spMkLst>
        </pc:spChg>
        <pc:spChg chg="add del mod">
          <ac:chgData name="Ischanka, Eugen" userId="e4e12248-2210-4459-89e3-acb2dd10c338" providerId="ADAL" clId="{EDBCA537-9AA3-447E-A484-FAC301ECD392}" dt="2023-12-03T09:55:27.490" v="14888" actId="478"/>
          <ac:spMkLst>
            <pc:docMk/>
            <pc:sldMk cId="1816946488" sldId="353"/>
            <ac:spMk id="13" creationId="{BCC1D7F3-08E3-423D-279D-384C14F47E9B}"/>
          </ac:spMkLst>
        </pc:spChg>
        <pc:spChg chg="del">
          <ac:chgData name="Ischanka, Eugen" userId="e4e12248-2210-4459-89e3-acb2dd10c338" providerId="ADAL" clId="{EDBCA537-9AA3-447E-A484-FAC301ECD392}" dt="2023-12-03T09:55:46.267" v="14892" actId="478"/>
          <ac:spMkLst>
            <pc:docMk/>
            <pc:sldMk cId="1816946488" sldId="353"/>
            <ac:spMk id="14" creationId="{41D6AEB9-7F27-D808-6259-BC31FCD4FD79}"/>
          </ac:spMkLst>
        </pc:spChg>
        <pc:spChg chg="add del mod ord">
          <ac:chgData name="Ischanka, Eugen" userId="e4e12248-2210-4459-89e3-acb2dd10c338" providerId="ADAL" clId="{EDBCA537-9AA3-447E-A484-FAC301ECD392}" dt="2023-12-03T10:09:56.096" v="14960"/>
          <ac:spMkLst>
            <pc:docMk/>
            <pc:sldMk cId="1816946488" sldId="353"/>
            <ac:spMk id="15" creationId="{9C99DCD0-4FC1-FAE6-6959-8AB94395BCDE}"/>
          </ac:spMkLst>
        </pc:spChg>
        <pc:spChg chg="add mod">
          <ac:chgData name="Ischanka, Eugen" userId="e4e12248-2210-4459-89e3-acb2dd10c338" providerId="ADAL" clId="{EDBCA537-9AA3-447E-A484-FAC301ECD392}" dt="2023-12-03T10:26:37.062" v="15075" actId="20577"/>
          <ac:spMkLst>
            <pc:docMk/>
            <pc:sldMk cId="1816946488" sldId="353"/>
            <ac:spMk id="19" creationId="{2F18C1BC-09C1-EB79-AAAD-5FA300833A18}"/>
          </ac:spMkLst>
        </pc:spChg>
        <pc:graphicFrameChg chg="add del mod">
          <ac:chgData name="Ischanka, Eugen" userId="e4e12248-2210-4459-89e3-acb2dd10c338" providerId="ADAL" clId="{EDBCA537-9AA3-447E-A484-FAC301ECD392}" dt="2023-12-04T08:41:42.172" v="16218" actId="478"/>
          <ac:graphicFrameMkLst>
            <pc:docMk/>
            <pc:sldMk cId="1816946488" sldId="353"/>
            <ac:graphicFrameMk id="2" creationId="{F721A110-647B-4370-B71D-D27ABBDB5DE3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4T08:41:40.115" v="16217" actId="478"/>
          <ac:graphicFrameMkLst>
            <pc:docMk/>
            <pc:sldMk cId="1816946488" sldId="353"/>
            <ac:graphicFrameMk id="5" creationId="{B44C217B-A4E1-47F6-8E04-D51027AD0B1C}"/>
          </ac:graphicFrameMkLst>
        </pc:graphicFrameChg>
        <pc:graphicFrameChg chg="add del">
          <ac:chgData name="Ischanka, Eugen" userId="e4e12248-2210-4459-89e3-acb2dd10c338" providerId="ADAL" clId="{EDBCA537-9AA3-447E-A484-FAC301ECD392}" dt="2023-12-04T08:41:34.368" v="16215"/>
          <ac:graphicFrameMkLst>
            <pc:docMk/>
            <pc:sldMk cId="1816946488" sldId="353"/>
            <ac:graphicFrameMk id="6" creationId="{148E1B92-0D22-A7E9-B0D8-CAB732B0C593}"/>
          </ac:graphicFrameMkLst>
        </pc:graphicFrameChg>
        <pc:graphicFrameChg chg="del mod">
          <ac:chgData name="Ischanka, Eugen" userId="e4e12248-2210-4459-89e3-acb2dd10c338" providerId="ADAL" clId="{EDBCA537-9AA3-447E-A484-FAC301ECD392}" dt="2023-12-03T10:09:29.798" v="14954" actId="478"/>
          <ac:graphicFrameMkLst>
            <pc:docMk/>
            <pc:sldMk cId="1816946488" sldId="353"/>
            <ac:graphicFrameMk id="8" creationId="{F721A110-647B-4370-B71D-D27ABBDB5DE3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3T10:22:23.238" v="15048" actId="20577"/>
          <ac:graphicFrameMkLst>
            <pc:docMk/>
            <pc:sldMk cId="1816946488" sldId="353"/>
            <ac:graphicFrameMk id="9" creationId="{74A27068-7CF8-0E9A-5FF0-DA130878344B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0:26:40.596" v="15076" actId="20577"/>
          <ac:graphicFrameMkLst>
            <pc:docMk/>
            <pc:sldMk cId="1816946488" sldId="353"/>
            <ac:graphicFrameMk id="16" creationId="{F721A110-647B-4370-B71D-D27ABBDB5DE3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0:22:14.405" v="15045" actId="478"/>
          <ac:graphicFrameMkLst>
            <pc:docMk/>
            <pc:sldMk cId="1816946488" sldId="353"/>
            <ac:graphicFrameMk id="17" creationId="{7AE9AA0B-82CE-7457-755D-1FB564357BC9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3T10:35:05.329" v="15311" actId="1076"/>
          <ac:graphicFrameMkLst>
            <pc:docMk/>
            <pc:sldMk cId="1816946488" sldId="353"/>
            <ac:graphicFrameMk id="18" creationId="{060C52C9-9D13-259D-1891-3B6D7E33CE81}"/>
          </ac:graphicFrameMkLst>
        </pc:graphicFrameChg>
        <pc:picChg chg="add del mod">
          <ac:chgData name="Ischanka, Eugen" userId="e4e12248-2210-4459-89e3-acb2dd10c338" providerId="ADAL" clId="{EDBCA537-9AA3-447E-A484-FAC301ECD392}" dt="2023-12-03T09:54:53.605" v="14886" actId="478"/>
          <ac:picMkLst>
            <pc:docMk/>
            <pc:sldMk cId="1816946488" sldId="353"/>
            <ac:picMk id="7" creationId="{92C8E0DA-AF90-DC8D-BD4E-BD00E23A10D6}"/>
          </ac:picMkLst>
        </pc:picChg>
        <pc:picChg chg="add del mod">
          <ac:chgData name="Ischanka, Eugen" userId="e4e12248-2210-4459-89e3-acb2dd10c338" providerId="ADAL" clId="{EDBCA537-9AA3-447E-A484-FAC301ECD392}" dt="2023-12-03T09:54:54.561" v="14887" actId="478"/>
          <ac:picMkLst>
            <pc:docMk/>
            <pc:sldMk cId="1816946488" sldId="353"/>
            <ac:picMk id="12" creationId="{55FC373D-4F8B-5E1C-1E06-1F532C2DBFD1}"/>
          </ac:picMkLst>
        </pc:picChg>
      </pc:sldChg>
      <pc:sldChg chg="addSp delSp modSp mod chgLayout">
        <pc:chgData name="Ischanka, Eugen" userId="e4e12248-2210-4459-89e3-acb2dd10c338" providerId="ADAL" clId="{EDBCA537-9AA3-447E-A484-FAC301ECD392}" dt="2023-12-06T15:19:50.556" v="17508"/>
        <pc:sldMkLst>
          <pc:docMk/>
          <pc:sldMk cId="2438554093" sldId="356"/>
        </pc:sldMkLst>
        <pc:spChg chg="del">
          <ac:chgData name="Ischanka, Eugen" userId="e4e12248-2210-4459-89e3-acb2dd10c338" providerId="ADAL" clId="{EDBCA537-9AA3-447E-A484-FAC301ECD392}" dt="2023-12-01T15:06:21.059" v="14108" actId="478"/>
          <ac:spMkLst>
            <pc:docMk/>
            <pc:sldMk cId="2438554093" sldId="356"/>
            <ac:spMk id="2" creationId="{2C79E892-654B-0CA7-FC99-E62518FA9822}"/>
          </ac:spMkLst>
        </pc:spChg>
        <pc:spChg chg="add del mod">
          <ac:chgData name="Ischanka, Eugen" userId="e4e12248-2210-4459-89e3-acb2dd10c338" providerId="ADAL" clId="{EDBCA537-9AA3-447E-A484-FAC301ECD392}" dt="2023-11-29T12:53:48.928" v="10726" actId="478"/>
          <ac:spMkLst>
            <pc:docMk/>
            <pc:sldMk cId="2438554093" sldId="356"/>
            <ac:spMk id="2" creationId="{C8001E87-AA5C-9829-EE5D-16AF41B6B7A1}"/>
          </ac:spMkLst>
        </pc:spChg>
        <pc:spChg chg="mod ord">
          <ac:chgData name="Ischanka, Eugen" userId="e4e12248-2210-4459-89e3-acb2dd10c338" providerId="ADAL" clId="{EDBCA537-9AA3-447E-A484-FAC301ECD392}" dt="2023-11-21T14:55:33.596" v="1462" actId="700"/>
          <ac:spMkLst>
            <pc:docMk/>
            <pc:sldMk cId="2438554093" sldId="356"/>
            <ac:spMk id="3" creationId="{A8229CC4-DA39-03D3-9A54-5BF7CC3A662C}"/>
          </ac:spMkLst>
        </pc:spChg>
        <pc:spChg chg="mod ord">
          <ac:chgData name="Ischanka, Eugen" userId="e4e12248-2210-4459-89e3-acb2dd10c338" providerId="ADAL" clId="{EDBCA537-9AA3-447E-A484-FAC301ECD392}" dt="2023-12-06T15:19:50.556" v="17508"/>
          <ac:spMkLst>
            <pc:docMk/>
            <pc:sldMk cId="2438554093" sldId="356"/>
            <ac:spMk id="4" creationId="{392504C8-08B7-9D52-74B3-98E1830782DD}"/>
          </ac:spMkLst>
        </pc:spChg>
        <pc:spChg chg="del">
          <ac:chgData name="Ischanka, Eugen" userId="e4e12248-2210-4459-89e3-acb2dd10c338" providerId="ADAL" clId="{EDBCA537-9AA3-447E-A484-FAC301ECD392}" dt="2023-11-21T14:55:15.759" v="1459" actId="478"/>
          <ac:spMkLst>
            <pc:docMk/>
            <pc:sldMk cId="2438554093" sldId="356"/>
            <ac:spMk id="5" creationId="{5E97B16E-1F80-AAD3-4F58-6F63DACF55E3}"/>
          </ac:spMkLst>
        </pc:spChg>
        <pc:spChg chg="add del mod">
          <ac:chgData name="Ischanka, Eugen" userId="e4e12248-2210-4459-89e3-acb2dd10c338" providerId="ADAL" clId="{EDBCA537-9AA3-447E-A484-FAC301ECD392}" dt="2023-11-29T13:15:19.341" v="10731"/>
          <ac:spMkLst>
            <pc:docMk/>
            <pc:sldMk cId="2438554093" sldId="356"/>
            <ac:spMk id="6" creationId="{485A9557-9848-DD06-1EF3-DD9CFA744F07}"/>
          </ac:spMkLst>
        </pc:spChg>
        <pc:spChg chg="del">
          <ac:chgData name="Ischanka, Eugen" userId="e4e12248-2210-4459-89e3-acb2dd10c338" providerId="ADAL" clId="{EDBCA537-9AA3-447E-A484-FAC301ECD392}" dt="2023-11-21T14:55:12.158" v="1457" actId="478"/>
          <ac:spMkLst>
            <pc:docMk/>
            <pc:sldMk cId="2438554093" sldId="356"/>
            <ac:spMk id="7" creationId="{B94B8758-99C7-1F5E-38F0-E2A7F70098A3}"/>
          </ac:spMkLst>
        </pc:spChg>
        <pc:spChg chg="del">
          <ac:chgData name="Ischanka, Eugen" userId="e4e12248-2210-4459-89e3-acb2dd10c338" providerId="ADAL" clId="{EDBCA537-9AA3-447E-A484-FAC301ECD392}" dt="2023-11-21T14:55:10.680" v="1456" actId="478"/>
          <ac:spMkLst>
            <pc:docMk/>
            <pc:sldMk cId="2438554093" sldId="356"/>
            <ac:spMk id="8" creationId="{23439DCE-E513-8773-7780-499077619164}"/>
          </ac:spMkLst>
        </pc:spChg>
        <pc:spChg chg="add del mod">
          <ac:chgData name="Ischanka, Eugen" userId="e4e12248-2210-4459-89e3-acb2dd10c338" providerId="ADAL" clId="{EDBCA537-9AA3-447E-A484-FAC301ECD392}" dt="2023-11-29T13:28:23.108" v="10767"/>
          <ac:spMkLst>
            <pc:docMk/>
            <pc:sldMk cId="2438554093" sldId="356"/>
            <ac:spMk id="8" creationId="{7B879A52-58E4-4A98-FFC5-DD2A117280C0}"/>
          </ac:spMkLst>
        </pc:spChg>
        <pc:spChg chg="add del mod">
          <ac:chgData name="Ischanka, Eugen" userId="e4e12248-2210-4459-89e3-acb2dd10c338" providerId="ADAL" clId="{EDBCA537-9AA3-447E-A484-FAC301ECD392}" dt="2023-12-01T15:06:30.179" v="14110"/>
          <ac:spMkLst>
            <pc:docMk/>
            <pc:sldMk cId="2438554093" sldId="356"/>
            <ac:spMk id="8" creationId="{C0691ACA-25C2-5C61-FB1D-1280D6913600}"/>
          </ac:spMkLst>
        </pc:spChg>
        <pc:spChg chg="add del mod">
          <ac:chgData name="Ischanka, Eugen" userId="e4e12248-2210-4459-89e3-acb2dd10c338" providerId="ADAL" clId="{EDBCA537-9AA3-447E-A484-FAC301ECD392}" dt="2023-11-29T13:40:27.910" v="11002" actId="21"/>
          <ac:spMkLst>
            <pc:docMk/>
            <pc:sldMk cId="2438554093" sldId="356"/>
            <ac:spMk id="9" creationId="{61CB7CB4-D7CE-BF98-92D9-D04CFA4F5A7B}"/>
          </ac:spMkLst>
        </pc:spChg>
        <pc:spChg chg="add mod">
          <ac:chgData name="Ischanka, Eugen" userId="e4e12248-2210-4459-89e3-acb2dd10c338" providerId="ADAL" clId="{EDBCA537-9AA3-447E-A484-FAC301ECD392}" dt="2023-12-01T15:32:52.072" v="14257" actId="1076"/>
          <ac:spMkLst>
            <pc:docMk/>
            <pc:sldMk cId="2438554093" sldId="356"/>
            <ac:spMk id="10" creationId="{F099D8D5-BDAC-BD85-3B26-F845AD95186E}"/>
          </ac:spMkLst>
        </pc:spChg>
        <pc:spChg chg="add del mod ord">
          <ac:chgData name="Ischanka, Eugen" userId="e4e12248-2210-4459-89e3-acb2dd10c338" providerId="ADAL" clId="{EDBCA537-9AA3-447E-A484-FAC301ECD392}" dt="2023-11-21T14:55:36.356" v="1463"/>
          <ac:spMkLst>
            <pc:docMk/>
            <pc:sldMk cId="2438554093" sldId="356"/>
            <ac:spMk id="11" creationId="{563AD7D5-1F62-8F81-CE24-3C0FE7BA68EB}"/>
          </ac:spMkLst>
        </pc:spChg>
        <pc:spChg chg="add del">
          <ac:chgData name="Ischanka, Eugen" userId="e4e12248-2210-4459-89e3-acb2dd10c338" providerId="ADAL" clId="{EDBCA537-9AA3-447E-A484-FAC301ECD392}" dt="2023-11-29T13:38:19.065" v="10917" actId="478"/>
          <ac:spMkLst>
            <pc:docMk/>
            <pc:sldMk cId="2438554093" sldId="356"/>
            <ac:spMk id="12" creationId="{51011DEA-48A0-EE55-278E-1A51B50ACECC}"/>
          </ac:spMkLst>
        </pc:spChg>
        <pc:spChg chg="add mod">
          <ac:chgData name="Ischanka, Eugen" userId="e4e12248-2210-4459-89e3-acb2dd10c338" providerId="ADAL" clId="{EDBCA537-9AA3-447E-A484-FAC301ECD392}" dt="2023-12-01T15:33:14.178" v="14274" actId="1076"/>
          <ac:spMkLst>
            <pc:docMk/>
            <pc:sldMk cId="2438554093" sldId="356"/>
            <ac:spMk id="12" creationId="{7B97C158-4629-EC2A-68AE-4525CF045CEC}"/>
          </ac:spMkLst>
        </pc:spChg>
        <pc:spChg chg="add mod">
          <ac:chgData name="Ischanka, Eugen" userId="e4e12248-2210-4459-89e3-acb2dd10c338" providerId="ADAL" clId="{EDBCA537-9AA3-447E-A484-FAC301ECD392}" dt="2023-12-03T12:38:01.929" v="16046" actId="13926"/>
          <ac:spMkLst>
            <pc:docMk/>
            <pc:sldMk cId="2438554093" sldId="356"/>
            <ac:spMk id="13" creationId="{14143E53-189D-91A3-72B9-672113A2306A}"/>
          </ac:spMkLst>
        </pc:spChg>
        <pc:spChg chg="add del mod">
          <ac:chgData name="Ischanka, Eugen" userId="e4e12248-2210-4459-89e3-acb2dd10c338" providerId="ADAL" clId="{EDBCA537-9AA3-447E-A484-FAC301ECD392}" dt="2023-11-21T14:57:42.734" v="1469"/>
          <ac:spMkLst>
            <pc:docMk/>
            <pc:sldMk cId="2438554093" sldId="356"/>
            <ac:spMk id="14" creationId="{E53AB77C-D0DA-3042-7E31-59172CF8C5FB}"/>
          </ac:spMkLst>
        </pc:spChg>
        <pc:spChg chg="add mod">
          <ac:chgData name="Ischanka, Eugen" userId="e4e12248-2210-4459-89e3-acb2dd10c338" providerId="ADAL" clId="{EDBCA537-9AA3-447E-A484-FAC301ECD392}" dt="2023-11-21T14:59:39.881" v="1479" actId="1076"/>
          <ac:spMkLst>
            <pc:docMk/>
            <pc:sldMk cId="2438554093" sldId="356"/>
            <ac:spMk id="17" creationId="{7586B220-36C5-0171-8C0E-F94501F2D442}"/>
          </ac:spMkLst>
        </pc:spChg>
        <pc:spChg chg="add mod">
          <ac:chgData name="Ischanka, Eugen" userId="e4e12248-2210-4459-89e3-acb2dd10c338" providerId="ADAL" clId="{EDBCA537-9AA3-447E-A484-FAC301ECD392}" dt="2023-12-03T11:32:40.722" v="15610" actId="20577"/>
          <ac:spMkLst>
            <pc:docMk/>
            <pc:sldMk cId="2438554093" sldId="356"/>
            <ac:spMk id="19" creationId="{B0A94721-501D-16F6-4208-6EC519B837E7}"/>
          </ac:spMkLst>
        </pc:spChg>
        <pc:spChg chg="add del mod">
          <ac:chgData name="Ischanka, Eugen" userId="e4e12248-2210-4459-89e3-acb2dd10c338" providerId="ADAL" clId="{EDBCA537-9AA3-447E-A484-FAC301ECD392}" dt="2023-11-21T15:26:43.498" v="1596"/>
          <ac:spMkLst>
            <pc:docMk/>
            <pc:sldMk cId="2438554093" sldId="356"/>
            <ac:spMk id="21" creationId="{606D07C7-AD39-AE9C-6DAF-679C9E41A018}"/>
          </ac:spMkLst>
        </pc:spChg>
        <pc:spChg chg="add del mod">
          <ac:chgData name="Ischanka, Eugen" userId="e4e12248-2210-4459-89e3-acb2dd10c338" providerId="ADAL" clId="{EDBCA537-9AA3-447E-A484-FAC301ECD392}" dt="2023-11-21T15:31:47.898" v="1694" actId="21"/>
          <ac:spMkLst>
            <pc:docMk/>
            <pc:sldMk cId="2438554093" sldId="356"/>
            <ac:spMk id="23" creationId="{2408F273-A6AD-FA7B-E8D6-966D75F1DB89}"/>
          </ac:spMkLst>
        </pc:spChg>
        <pc:graphicFrameChg chg="del">
          <ac:chgData name="Ischanka, Eugen" userId="e4e12248-2210-4459-89e3-acb2dd10c338" providerId="ADAL" clId="{EDBCA537-9AA3-447E-A484-FAC301ECD392}" dt="2023-11-21T14:55:13.866" v="1458" actId="478"/>
          <ac:graphicFrameMkLst>
            <pc:docMk/>
            <pc:sldMk cId="2438554093" sldId="356"/>
            <ac:graphicFrameMk id="6" creationId="{022908EB-65A2-FC3B-99B7-7C9C22B2BAEC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1T15:06:25.979" v="14109" actId="478"/>
          <ac:graphicFrameMkLst>
            <pc:docMk/>
            <pc:sldMk cId="2438554093" sldId="356"/>
            <ac:graphicFrameMk id="7" creationId="{0D10BAED-E3E2-4B6E-9C48-5F351207B5B1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1T15:11:12.355" v="14210" actId="692"/>
          <ac:graphicFrameMkLst>
            <pc:docMk/>
            <pc:sldMk cId="2438554093" sldId="356"/>
            <ac:graphicFrameMk id="9" creationId="{0D10BAED-E3E2-4B6E-9C48-5F351207B5B1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4:55:29.119" v="1461" actId="478"/>
          <ac:graphicFrameMkLst>
            <pc:docMk/>
            <pc:sldMk cId="2438554093" sldId="356"/>
            <ac:graphicFrameMk id="9" creationId="{65068799-D239-4A4B-BE35-07F3A909C682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3:34:52.792" v="10901" actId="478"/>
          <ac:graphicFrameMkLst>
            <pc:docMk/>
            <pc:sldMk cId="2438554093" sldId="356"/>
            <ac:graphicFrameMk id="10" creationId="{AD15F439-5CC1-A556-2594-358939736931}"/>
          </ac:graphicFrameMkLst>
        </pc:graphicFrameChg>
        <pc:graphicFrameChg chg="del">
          <ac:chgData name="Ischanka, Eugen" userId="e4e12248-2210-4459-89e3-acb2dd10c338" providerId="ADAL" clId="{EDBCA537-9AA3-447E-A484-FAC301ECD392}" dt="2023-11-21T14:43:50.040" v="1455" actId="478"/>
          <ac:graphicFrameMkLst>
            <pc:docMk/>
            <pc:sldMk cId="2438554093" sldId="356"/>
            <ac:graphicFrameMk id="10" creationId="{AE1B7FE1-9C0E-44B0-B6C8-458B4B8514BF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1T15:10:11.236" v="14204" actId="20577"/>
          <ac:graphicFrameMkLst>
            <pc:docMk/>
            <pc:sldMk cId="2438554093" sldId="356"/>
            <ac:graphicFrameMk id="11" creationId="{542DBD62-5E89-B06A-4921-92207E3F0F17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4:57:39.101" v="1468" actId="478"/>
          <ac:graphicFrameMkLst>
            <pc:docMk/>
            <pc:sldMk cId="2438554093" sldId="356"/>
            <ac:graphicFrameMk id="12" creationId="{65068799-D239-4A4B-BE35-07F3A909C682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5:26:34.746" v="1595" actId="478"/>
          <ac:graphicFrameMkLst>
            <pc:docMk/>
            <pc:sldMk cId="2438554093" sldId="356"/>
            <ac:graphicFrameMk id="15" creationId="{0D10BAED-E3E2-4B6E-9C48-5F351207B5B1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1-29T13:17:58.145" v="10745" actId="478"/>
          <ac:graphicFrameMkLst>
            <pc:docMk/>
            <pc:sldMk cId="2438554093" sldId="356"/>
            <ac:graphicFrameMk id="18" creationId="{E82FA4FF-1D93-40DC-455E-6DC3893431EF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1-29T13:15:14.524" v="10730" actId="478"/>
          <ac:graphicFrameMkLst>
            <pc:docMk/>
            <pc:sldMk cId="2438554093" sldId="356"/>
            <ac:graphicFrameMk id="22" creationId="{0D10BAED-E3E2-4B6E-9C48-5F351207B5B1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5.752" v="17342"/>
          <ac:picMkLst>
            <pc:docMk/>
            <pc:sldMk cId="2438554093" sldId="356"/>
            <ac:picMk id="2" creationId="{A69A9ACB-6BA4-B869-6F0B-5C109C2D753A}"/>
          </ac:picMkLst>
        </pc:picChg>
        <pc:cxnChg chg="del">
          <ac:chgData name="Ischanka, Eugen" userId="e4e12248-2210-4459-89e3-acb2dd10c338" providerId="ADAL" clId="{EDBCA537-9AA3-447E-A484-FAC301ECD392}" dt="2023-11-21T14:55:15.759" v="1459" actId="478"/>
          <ac:cxnSpMkLst>
            <pc:docMk/>
            <pc:sldMk cId="2438554093" sldId="356"/>
            <ac:cxnSpMk id="2" creationId="{D35DCC38-62BE-55A6-8A2E-799C5CA77A4C}"/>
          </ac:cxnSpMkLst>
        </pc:cxnChg>
        <pc:cxnChg chg="add mod">
          <ac:chgData name="Ischanka, Eugen" userId="e4e12248-2210-4459-89e3-acb2dd10c338" providerId="ADAL" clId="{EDBCA537-9AA3-447E-A484-FAC301ECD392}" dt="2023-11-21T14:59:39.881" v="1479" actId="1076"/>
          <ac:cxnSpMkLst>
            <pc:docMk/>
            <pc:sldMk cId="2438554093" sldId="356"/>
            <ac:cxnSpMk id="16" creationId="{4F4FB0CD-5276-E813-74B2-E9E1DF1A65D1}"/>
          </ac:cxnSpMkLst>
        </pc:cxnChg>
      </pc:sldChg>
      <pc:sldChg chg="addSp delSp modSp mod">
        <pc:chgData name="Ischanka, Eugen" userId="e4e12248-2210-4459-89e3-acb2dd10c338" providerId="ADAL" clId="{EDBCA537-9AA3-447E-A484-FAC301ECD392}" dt="2023-12-06T15:19:53.754" v="17509"/>
        <pc:sldMkLst>
          <pc:docMk/>
          <pc:sldMk cId="1757976955" sldId="357"/>
        </pc:sldMkLst>
        <pc:spChg chg="add del mod">
          <ac:chgData name="Ischanka, Eugen" userId="e4e12248-2210-4459-89e3-acb2dd10c338" providerId="ADAL" clId="{EDBCA537-9AA3-447E-A484-FAC301ECD392}" dt="2023-11-29T13:45:43.009" v="11026" actId="478"/>
          <ac:spMkLst>
            <pc:docMk/>
            <pc:sldMk cId="1757976955" sldId="357"/>
            <ac:spMk id="2" creationId="{1DEEFC40-518A-AAA2-6F51-3F216233BBC7}"/>
          </ac:spMkLst>
        </pc:spChg>
        <pc:spChg chg="add del mod">
          <ac:chgData name="Ischanka, Eugen" userId="e4e12248-2210-4459-89e3-acb2dd10c338" providerId="ADAL" clId="{EDBCA537-9AA3-447E-A484-FAC301ECD392}" dt="2023-12-01T15:33:37.624" v="14278" actId="478"/>
          <ac:spMkLst>
            <pc:docMk/>
            <pc:sldMk cId="1757976955" sldId="357"/>
            <ac:spMk id="2" creationId="{32BA16D1-1D48-81E9-517C-4E0D0D29CDC0}"/>
          </ac:spMkLst>
        </pc:spChg>
        <pc:spChg chg="del">
          <ac:chgData name="Ischanka, Eugen" userId="e4e12248-2210-4459-89e3-acb2dd10c338" providerId="ADAL" clId="{EDBCA537-9AA3-447E-A484-FAC301ECD392}" dt="2023-11-21T15:31:54.857" v="1697" actId="478"/>
          <ac:spMkLst>
            <pc:docMk/>
            <pc:sldMk cId="1757976955" sldId="357"/>
            <ac:spMk id="2" creationId="{F91FC648-018F-1626-8367-3F36C0592F1E}"/>
          </ac:spMkLst>
        </pc:spChg>
        <pc:spChg chg="mod">
          <ac:chgData name="Ischanka, Eugen" userId="e4e12248-2210-4459-89e3-acb2dd10c338" providerId="ADAL" clId="{EDBCA537-9AA3-447E-A484-FAC301ECD392}" dt="2023-12-06T15:19:53.754" v="17509"/>
          <ac:spMkLst>
            <pc:docMk/>
            <pc:sldMk cId="1757976955" sldId="357"/>
            <ac:spMk id="4" creationId="{006F0BFF-51C7-C9C1-4D51-3170E3347643}"/>
          </ac:spMkLst>
        </pc:spChg>
        <pc:spChg chg="add del mod">
          <ac:chgData name="Ischanka, Eugen" userId="e4e12248-2210-4459-89e3-acb2dd10c338" providerId="ADAL" clId="{EDBCA537-9AA3-447E-A484-FAC301ECD392}" dt="2023-11-29T14:00:56.914" v="11135" actId="478"/>
          <ac:spMkLst>
            <pc:docMk/>
            <pc:sldMk cId="1757976955" sldId="357"/>
            <ac:spMk id="5" creationId="{20C04A2E-B277-5A9A-F752-3D494C24688C}"/>
          </ac:spMkLst>
        </pc:spChg>
        <pc:spChg chg="mod">
          <ac:chgData name="Ischanka, Eugen" userId="e4e12248-2210-4459-89e3-acb2dd10c338" providerId="ADAL" clId="{EDBCA537-9AA3-447E-A484-FAC301ECD392}" dt="2023-11-29T13:56:37.242" v="11097" actId="1076"/>
          <ac:spMkLst>
            <pc:docMk/>
            <pc:sldMk cId="1757976955" sldId="357"/>
            <ac:spMk id="7" creationId="{65F57714-4C5D-0003-F242-7361E73B0E30}"/>
          </ac:spMkLst>
        </pc:spChg>
        <pc:spChg chg="mod">
          <ac:chgData name="Ischanka, Eugen" userId="e4e12248-2210-4459-89e3-acb2dd10c338" providerId="ADAL" clId="{EDBCA537-9AA3-447E-A484-FAC301ECD392}" dt="2023-12-01T15:36:54.054" v="14350" actId="20577"/>
          <ac:spMkLst>
            <pc:docMk/>
            <pc:sldMk cId="1757976955" sldId="357"/>
            <ac:spMk id="8" creationId="{7927E4E9-3ADF-C3E9-18AB-2DCE66411044}"/>
          </ac:spMkLst>
        </pc:spChg>
        <pc:spChg chg="mod">
          <ac:chgData name="Ischanka, Eugen" userId="e4e12248-2210-4459-89e3-acb2dd10c338" providerId="ADAL" clId="{EDBCA537-9AA3-447E-A484-FAC301ECD392}" dt="2023-12-01T15:37:07.413" v="14357" actId="20577"/>
          <ac:spMkLst>
            <pc:docMk/>
            <pc:sldMk cId="1757976955" sldId="357"/>
            <ac:spMk id="9" creationId="{62912DAB-9F5F-8DEC-2B77-696CBDF9E0B3}"/>
          </ac:spMkLst>
        </pc:spChg>
        <pc:spChg chg="mod">
          <ac:chgData name="Ischanka, Eugen" userId="e4e12248-2210-4459-89e3-acb2dd10c338" providerId="ADAL" clId="{EDBCA537-9AA3-447E-A484-FAC301ECD392}" dt="2023-12-01T15:37:22.293" v="14364" actId="20577"/>
          <ac:spMkLst>
            <pc:docMk/>
            <pc:sldMk cId="1757976955" sldId="357"/>
            <ac:spMk id="10" creationId="{AF1D651A-4EA8-E9AD-0E07-0B113FAEF51A}"/>
          </ac:spMkLst>
        </pc:spChg>
        <pc:spChg chg="mod">
          <ac:chgData name="Ischanka, Eugen" userId="e4e12248-2210-4459-89e3-acb2dd10c338" providerId="ADAL" clId="{EDBCA537-9AA3-447E-A484-FAC301ECD392}" dt="2023-12-01T15:37:37.152" v="14371" actId="20577"/>
          <ac:spMkLst>
            <pc:docMk/>
            <pc:sldMk cId="1757976955" sldId="357"/>
            <ac:spMk id="11" creationId="{60C1EBB0-F95E-1D1D-B8D6-EFB18683E2EB}"/>
          </ac:spMkLst>
        </pc:spChg>
        <pc:spChg chg="mod">
          <ac:chgData name="Ischanka, Eugen" userId="e4e12248-2210-4459-89e3-acb2dd10c338" providerId="ADAL" clId="{EDBCA537-9AA3-447E-A484-FAC301ECD392}" dt="2023-12-01T15:37:48.247" v="14378" actId="20577"/>
          <ac:spMkLst>
            <pc:docMk/>
            <pc:sldMk cId="1757976955" sldId="357"/>
            <ac:spMk id="12" creationId="{1BDAD65D-364B-D7A7-BD9A-F80A52CBCED3}"/>
          </ac:spMkLst>
        </pc:spChg>
        <pc:spChg chg="del">
          <ac:chgData name="Ischanka, Eugen" userId="e4e12248-2210-4459-89e3-acb2dd10c338" providerId="ADAL" clId="{EDBCA537-9AA3-447E-A484-FAC301ECD392}" dt="2023-11-21T15:31:32.433" v="1692" actId="478"/>
          <ac:spMkLst>
            <pc:docMk/>
            <pc:sldMk cId="1757976955" sldId="357"/>
            <ac:spMk id="13" creationId="{1204F075-09A5-7C40-ACBB-E9A2A7FE1ECA}"/>
          </ac:spMkLst>
        </pc:spChg>
        <pc:spChg chg="add del mod">
          <ac:chgData name="Ischanka, Eugen" userId="e4e12248-2210-4459-89e3-acb2dd10c338" providerId="ADAL" clId="{EDBCA537-9AA3-447E-A484-FAC301ECD392}" dt="2023-11-29T13:45:52.372" v="11028"/>
          <ac:spMkLst>
            <pc:docMk/>
            <pc:sldMk cId="1757976955" sldId="357"/>
            <ac:spMk id="14" creationId="{0F50FC7F-E7D0-E60B-941F-81992EA2E04C}"/>
          </ac:spMkLst>
        </pc:spChg>
        <pc:spChg chg="add del mod">
          <ac:chgData name="Ischanka, Eugen" userId="e4e12248-2210-4459-89e3-acb2dd10c338" providerId="ADAL" clId="{EDBCA537-9AA3-447E-A484-FAC301ECD392}" dt="2023-11-21T15:50:13.650" v="1845" actId="478"/>
          <ac:spMkLst>
            <pc:docMk/>
            <pc:sldMk cId="1757976955" sldId="357"/>
            <ac:spMk id="14" creationId="{72879355-F378-36DC-159C-77A78AFE232D}"/>
          </ac:spMkLst>
        </pc:spChg>
        <pc:spChg chg="add del mod">
          <ac:chgData name="Ischanka, Eugen" userId="e4e12248-2210-4459-89e3-acb2dd10c338" providerId="ADAL" clId="{EDBCA537-9AA3-447E-A484-FAC301ECD392}" dt="2023-12-01T15:33:49.561" v="14280"/>
          <ac:spMkLst>
            <pc:docMk/>
            <pc:sldMk cId="1757976955" sldId="357"/>
            <ac:spMk id="14" creationId="{AA82ED23-453B-A47C-5CE4-BB7415487B5D}"/>
          </ac:spMkLst>
        </pc:spChg>
        <pc:spChg chg="add del mod">
          <ac:chgData name="Ischanka, Eugen" userId="e4e12248-2210-4459-89e3-acb2dd10c338" providerId="ADAL" clId="{EDBCA537-9AA3-447E-A484-FAC301ECD392}" dt="2023-11-21T15:41:26.584" v="1700"/>
          <ac:spMkLst>
            <pc:docMk/>
            <pc:sldMk cId="1757976955" sldId="357"/>
            <ac:spMk id="16" creationId="{4EB5CA93-E2D4-B009-A52F-A627D7EC1C16}"/>
          </ac:spMkLst>
        </pc:spChg>
        <pc:spChg chg="add mod">
          <ac:chgData name="Ischanka, Eugen" userId="e4e12248-2210-4459-89e3-acb2dd10c338" providerId="ADAL" clId="{EDBCA537-9AA3-447E-A484-FAC301ECD392}" dt="2023-12-03T12:45:37.566" v="16050" actId="13926"/>
          <ac:spMkLst>
            <pc:docMk/>
            <pc:sldMk cId="1757976955" sldId="357"/>
            <ac:spMk id="16" creationId="{8FFC8DFE-305B-CAEB-4382-EA8E9876895B}"/>
          </ac:spMkLst>
        </pc:spChg>
        <pc:spChg chg="add mod">
          <ac:chgData name="Ischanka, Eugen" userId="e4e12248-2210-4459-89e3-acb2dd10c338" providerId="ADAL" clId="{EDBCA537-9AA3-447E-A484-FAC301ECD392}" dt="2023-12-03T11:32:57.102" v="15611" actId="20577"/>
          <ac:spMkLst>
            <pc:docMk/>
            <pc:sldMk cId="1757976955" sldId="357"/>
            <ac:spMk id="18" creationId="{1D290629-5970-D666-53F0-145771A0E4E1}"/>
          </ac:spMkLst>
        </pc:spChg>
        <pc:spChg chg="add mod">
          <ac:chgData name="Ischanka, Eugen" userId="e4e12248-2210-4459-89e3-acb2dd10c338" providerId="ADAL" clId="{EDBCA537-9AA3-447E-A484-FAC301ECD392}" dt="2023-12-01T15:34:41.023" v="14303" actId="1076"/>
          <ac:spMkLst>
            <pc:docMk/>
            <pc:sldMk cId="1757976955" sldId="357"/>
            <ac:spMk id="19" creationId="{0F6BCD6C-166A-6E99-1226-2A5EF985AD11}"/>
          </ac:spMkLst>
        </pc:spChg>
        <pc:spChg chg="add mod">
          <ac:chgData name="Ischanka, Eugen" userId="e4e12248-2210-4459-89e3-acb2dd10c338" providerId="ADAL" clId="{EDBCA537-9AA3-447E-A484-FAC301ECD392}" dt="2023-12-01T15:36:23.535" v="14343" actId="1076"/>
          <ac:spMkLst>
            <pc:docMk/>
            <pc:sldMk cId="1757976955" sldId="357"/>
            <ac:spMk id="20" creationId="{058FC968-45AD-3ACF-0031-D5B7639FEB1C}"/>
          </ac:spMkLst>
        </pc:spChg>
        <pc:graphicFrameChg chg="del">
          <ac:chgData name="Ischanka, Eugen" userId="e4e12248-2210-4459-89e3-acb2dd10c338" providerId="ADAL" clId="{EDBCA537-9AA3-447E-A484-FAC301ECD392}" dt="2023-11-21T15:32:08.009" v="1699" actId="478"/>
          <ac:graphicFrameMkLst>
            <pc:docMk/>
            <pc:sldMk cId="1757976955" sldId="357"/>
            <ac:graphicFrameMk id="5" creationId="{6893F7F2-C28A-408D-8421-0653A1C5012D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1T15:33:39.932" v="14279" actId="478"/>
          <ac:graphicFrameMkLst>
            <pc:docMk/>
            <pc:sldMk cId="1757976955" sldId="357"/>
            <ac:graphicFrameMk id="15" creationId="{9CE44C8F-8872-7557-E6A1-39015D84EE72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1T15:41:40.787" v="14510" actId="167"/>
          <ac:graphicFrameMkLst>
            <pc:docMk/>
            <pc:sldMk cId="1757976955" sldId="357"/>
            <ac:graphicFrameMk id="17" creationId="{9CE44C8F-8872-7557-E6A1-39015D84EE72}"/>
          </ac:graphicFrameMkLst>
        </pc:graphicFrameChg>
        <pc:graphicFrameChg chg="add mod ord modGraphic">
          <ac:chgData name="Ischanka, Eugen" userId="e4e12248-2210-4459-89e3-acb2dd10c338" providerId="ADAL" clId="{EDBCA537-9AA3-447E-A484-FAC301ECD392}" dt="2023-12-01T15:41:28.977" v="14509" actId="12385"/>
          <ac:graphicFrameMkLst>
            <pc:docMk/>
            <pc:sldMk cId="1757976955" sldId="357"/>
            <ac:graphicFrameMk id="21" creationId="{CFAFA112-42C5-9FA5-057A-D9DA470405C7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7.040" v="17343"/>
          <ac:picMkLst>
            <pc:docMk/>
            <pc:sldMk cId="1757976955" sldId="357"/>
            <ac:picMk id="2" creationId="{7FD8DA4C-A9DF-C7D4-6FEC-D6533EB9B13C}"/>
          </ac:picMkLst>
        </pc:picChg>
        <pc:cxnChg chg="mod">
          <ac:chgData name="Ischanka, Eugen" userId="e4e12248-2210-4459-89e3-acb2dd10c338" providerId="ADAL" clId="{EDBCA537-9AA3-447E-A484-FAC301ECD392}" dt="2023-11-29T13:56:33.413" v="11096" actId="1076"/>
          <ac:cxnSpMkLst>
            <pc:docMk/>
            <pc:sldMk cId="1757976955" sldId="357"/>
            <ac:cxnSpMk id="6" creationId="{B367F05E-4C26-B0A4-BA7D-8D1B9F6AE4EC}"/>
          </ac:cxnSpMkLst>
        </pc:cxnChg>
      </pc:sldChg>
      <pc:sldChg chg="delSp modSp del mod modShow">
        <pc:chgData name="Ischanka, Eugen" userId="e4e12248-2210-4459-89e3-acb2dd10c338" providerId="ADAL" clId="{EDBCA537-9AA3-447E-A484-FAC301ECD392}" dt="2023-11-29T15:27:50.278" v="11679" actId="47"/>
        <pc:sldMkLst>
          <pc:docMk/>
          <pc:sldMk cId="2275226650" sldId="358"/>
        </pc:sldMkLst>
        <pc:spChg chg="del mod">
          <ac:chgData name="Ischanka, Eugen" userId="e4e12248-2210-4459-89e3-acb2dd10c338" providerId="ADAL" clId="{EDBCA537-9AA3-447E-A484-FAC301ECD392}" dt="2023-11-29T15:27:28.155" v="11675" actId="21"/>
          <ac:spMkLst>
            <pc:docMk/>
            <pc:sldMk cId="2275226650" sldId="358"/>
            <ac:spMk id="2" creationId="{2284762B-27E6-BA3C-573D-157FCBC637B2}"/>
          </ac:spMkLst>
        </pc:spChg>
        <pc:graphicFrameChg chg="modGraphic">
          <ac:chgData name="Ischanka, Eugen" userId="e4e12248-2210-4459-89e3-acb2dd10c338" providerId="ADAL" clId="{EDBCA537-9AA3-447E-A484-FAC301ECD392}" dt="2023-11-29T15:10:29.059" v="11601" actId="13926"/>
          <ac:graphicFrameMkLst>
            <pc:docMk/>
            <pc:sldMk cId="2275226650" sldId="358"/>
            <ac:graphicFrameMk id="6" creationId="{0D8A9398-52A2-85B4-7DB4-9401856AF411}"/>
          </ac:graphicFrameMkLst>
        </pc:graphicFrameChg>
      </pc:sldChg>
      <pc:sldChg chg="addSp delSp modSp del mod">
        <pc:chgData name="Ischanka, Eugen" userId="e4e12248-2210-4459-89e3-acb2dd10c338" providerId="ADAL" clId="{EDBCA537-9AA3-447E-A484-FAC301ECD392}" dt="2023-12-03T11:47:50.082" v="15622" actId="47"/>
        <pc:sldMkLst>
          <pc:docMk/>
          <pc:sldMk cId="342935145" sldId="360"/>
        </pc:sldMkLst>
        <pc:spChg chg="add del mod">
          <ac:chgData name="Ischanka, Eugen" userId="e4e12248-2210-4459-89e3-acb2dd10c338" providerId="ADAL" clId="{EDBCA537-9AA3-447E-A484-FAC301ECD392}" dt="2023-11-29T14:05:10.135" v="11146" actId="478"/>
          <ac:spMkLst>
            <pc:docMk/>
            <pc:sldMk cId="342935145" sldId="360"/>
            <ac:spMk id="2" creationId="{5E9F84C1-5265-2B0E-39C1-B868F2F30E6C}"/>
          </ac:spMkLst>
        </pc:spChg>
        <pc:spChg chg="del">
          <ac:chgData name="Ischanka, Eugen" userId="e4e12248-2210-4459-89e3-acb2dd10c338" providerId="ADAL" clId="{EDBCA537-9AA3-447E-A484-FAC301ECD392}" dt="2023-11-21T15:50:58.329" v="1848" actId="478"/>
          <ac:spMkLst>
            <pc:docMk/>
            <pc:sldMk cId="342935145" sldId="360"/>
            <ac:spMk id="2" creationId="{CAD8AA72-4066-8E15-BEEF-7798D4E6F7F0}"/>
          </ac:spMkLst>
        </pc:spChg>
        <pc:spChg chg="add del">
          <ac:chgData name="Ischanka, Eugen" userId="e4e12248-2210-4459-89e3-acb2dd10c338" providerId="ADAL" clId="{EDBCA537-9AA3-447E-A484-FAC301ECD392}" dt="2023-12-03T11:33:36.002" v="15620" actId="478"/>
          <ac:spMkLst>
            <pc:docMk/>
            <pc:sldMk cId="342935145" sldId="360"/>
            <ac:spMk id="2" creationId="{EA7402DB-CCE3-76B0-C9BF-8A0F16089DA8}"/>
          </ac:spMkLst>
        </pc:spChg>
        <pc:spChg chg="mod">
          <ac:chgData name="Ischanka, Eugen" userId="e4e12248-2210-4459-89e3-acb2dd10c338" providerId="ADAL" clId="{EDBCA537-9AA3-447E-A484-FAC301ECD392}" dt="2023-11-29T15:53:30.155" v="11821" actId="207"/>
          <ac:spMkLst>
            <pc:docMk/>
            <pc:sldMk cId="342935145" sldId="360"/>
            <ac:spMk id="8" creationId="{B79F23A7-2E4F-A116-15B7-CA4359E79FB9}"/>
          </ac:spMkLst>
        </pc:spChg>
        <pc:spChg chg="mod">
          <ac:chgData name="Ischanka, Eugen" userId="e4e12248-2210-4459-89e3-acb2dd10c338" providerId="ADAL" clId="{EDBCA537-9AA3-447E-A484-FAC301ECD392}" dt="2023-11-21T16:02:58.396" v="1902" actId="1076"/>
          <ac:spMkLst>
            <pc:docMk/>
            <pc:sldMk cId="342935145" sldId="360"/>
            <ac:spMk id="9" creationId="{488B7270-E83A-3C8F-BB5C-2D3CB005E392}"/>
          </ac:spMkLst>
        </pc:spChg>
        <pc:spChg chg="del mod">
          <ac:chgData name="Ischanka, Eugen" userId="e4e12248-2210-4459-89e3-acb2dd10c338" providerId="ADAL" clId="{EDBCA537-9AA3-447E-A484-FAC301ECD392}" dt="2023-11-21T16:03:41.108" v="1903" actId="478"/>
          <ac:spMkLst>
            <pc:docMk/>
            <pc:sldMk cId="342935145" sldId="360"/>
            <ac:spMk id="10" creationId="{68291317-A91D-CC1A-55E6-D050265AE1B5}"/>
          </ac:spMkLst>
        </pc:spChg>
        <pc:spChg chg="add mod">
          <ac:chgData name="Ischanka, Eugen" userId="e4e12248-2210-4459-89e3-acb2dd10c338" providerId="ADAL" clId="{EDBCA537-9AA3-447E-A484-FAC301ECD392}" dt="2023-12-03T11:33:38.253" v="15621" actId="478"/>
          <ac:spMkLst>
            <pc:docMk/>
            <pc:sldMk cId="342935145" sldId="360"/>
            <ac:spMk id="10" creationId="{989138AB-353F-1AC3-49AB-1B5DFDD6D003}"/>
          </ac:spMkLst>
        </pc:spChg>
        <pc:spChg chg="add del mod">
          <ac:chgData name="Ischanka, Eugen" userId="e4e12248-2210-4459-89e3-acb2dd10c338" providerId="ADAL" clId="{EDBCA537-9AA3-447E-A484-FAC301ECD392}" dt="2023-11-29T14:13:11.329" v="11151"/>
          <ac:spMkLst>
            <pc:docMk/>
            <pc:sldMk cId="342935145" sldId="360"/>
            <ac:spMk id="10" creationId="{C036441A-37F8-3B80-794B-2EB45A991965}"/>
          </ac:spMkLst>
        </pc:spChg>
        <pc:spChg chg="add del mod ord">
          <ac:chgData name="Ischanka, Eugen" userId="e4e12248-2210-4459-89e3-acb2dd10c338" providerId="ADAL" clId="{EDBCA537-9AA3-447E-A484-FAC301ECD392}" dt="2023-11-21T15:58:58.975" v="1854"/>
          <ac:spMkLst>
            <pc:docMk/>
            <pc:sldMk cId="342935145" sldId="360"/>
            <ac:spMk id="12" creationId="{2EE49616-AB3D-1BDF-5071-78F49AA60972}"/>
          </ac:spMkLst>
        </pc:spChg>
        <pc:spChg chg="add mod">
          <ac:chgData name="Ischanka, Eugen" userId="e4e12248-2210-4459-89e3-acb2dd10c338" providerId="ADAL" clId="{EDBCA537-9AA3-447E-A484-FAC301ECD392}" dt="2023-12-03T11:33:00.352" v="15612" actId="20577"/>
          <ac:spMkLst>
            <pc:docMk/>
            <pc:sldMk cId="342935145" sldId="360"/>
            <ac:spMk id="14" creationId="{E966E03E-BAEB-AD78-F255-04173395BE29}"/>
          </ac:spMkLst>
        </pc:spChg>
        <pc:spChg chg="add del mod">
          <ac:chgData name="Ischanka, Eugen" userId="e4e12248-2210-4459-89e3-acb2dd10c338" providerId="ADAL" clId="{EDBCA537-9AA3-447E-A484-FAC301ECD392}" dt="2023-11-29T14:25:51.944" v="11198"/>
          <ac:spMkLst>
            <pc:docMk/>
            <pc:sldMk cId="342935145" sldId="360"/>
            <ac:spMk id="15" creationId="{22BE72B8-A23F-807E-AEA5-E0DE0C0455D9}"/>
          </ac:spMkLst>
        </pc:spChg>
        <pc:graphicFrameChg chg="del">
          <ac:chgData name="Ischanka, Eugen" userId="e4e12248-2210-4459-89e3-acb2dd10c338" providerId="ADAL" clId="{EDBCA537-9AA3-447E-A484-FAC301ECD392}" dt="2023-11-21T15:58:26.085" v="1850" actId="478"/>
          <ac:graphicFrameMkLst>
            <pc:docMk/>
            <pc:sldMk cId="342935145" sldId="360"/>
            <ac:graphicFrameMk id="5" creationId="{5935235A-F4A3-6DC4-8C20-1D83BE689E5D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14:31:26.340" v="11312" actId="1076"/>
          <ac:graphicFrameMkLst>
            <pc:docMk/>
            <pc:sldMk cId="342935145" sldId="360"/>
            <ac:graphicFrameMk id="7" creationId="{47CC3E69-F99B-5531-0435-D8EF09CD71A1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1-29T14:25:49.939" v="11197" actId="478"/>
          <ac:graphicFrameMkLst>
            <pc:docMk/>
            <pc:sldMk cId="342935145" sldId="360"/>
            <ac:graphicFrameMk id="11" creationId="{BB4FECC6-E682-0E0C-D0DA-4E8BDE28B71A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1-29T14:13:06.168" v="11150" actId="478"/>
          <ac:graphicFrameMkLst>
            <pc:docMk/>
            <pc:sldMk cId="342935145" sldId="360"/>
            <ac:graphicFrameMk id="13" creationId="{BB4FECC6-E682-0E0C-D0DA-4E8BDE28B71A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3T11:33:38.253" v="15621" actId="478"/>
          <ac:graphicFrameMkLst>
            <pc:docMk/>
            <pc:sldMk cId="342935145" sldId="360"/>
            <ac:graphicFrameMk id="16" creationId="{BB4FECC6-E682-0E0C-D0DA-4E8BDE28B71A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4:29:14.555" v="11262" actId="478"/>
          <ac:graphicFrameMkLst>
            <pc:docMk/>
            <pc:sldMk cId="342935145" sldId="360"/>
            <ac:graphicFrameMk id="17" creationId="{46088D6D-7A2E-28B9-230F-0134F18010FB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4:33:56.043" v="11360" actId="478"/>
          <ac:graphicFrameMkLst>
            <pc:docMk/>
            <pc:sldMk cId="342935145" sldId="360"/>
            <ac:graphicFrameMk id="18" creationId="{3E0F2B66-8D77-A082-68B7-4BA214A5CA0F}"/>
          </ac:graphicFrameMkLst>
        </pc:graphicFrameChg>
        <pc:cxnChg chg="mod">
          <ac:chgData name="Ischanka, Eugen" userId="e4e12248-2210-4459-89e3-acb2dd10c338" providerId="ADAL" clId="{EDBCA537-9AA3-447E-A484-FAC301ECD392}" dt="2023-11-21T16:02:58.396" v="1902" actId="1076"/>
          <ac:cxnSpMkLst>
            <pc:docMk/>
            <pc:sldMk cId="342935145" sldId="360"/>
            <ac:cxnSpMk id="6" creationId="{1A1C6B85-1B6B-3357-7096-D32A32191E46}"/>
          </ac:cxnSpMkLst>
        </pc:cxnChg>
      </pc:sldChg>
      <pc:sldChg chg="addSp modSp mod">
        <pc:chgData name="Ischanka, Eugen" userId="e4e12248-2210-4459-89e3-acb2dd10c338" providerId="ADAL" clId="{EDBCA537-9AA3-447E-A484-FAC301ECD392}" dt="2023-12-06T15:18:20.363" v="17479"/>
        <pc:sldMkLst>
          <pc:docMk/>
          <pc:sldMk cId="3690981345" sldId="362"/>
        </pc:sldMkLst>
        <pc:spChg chg="mod">
          <ac:chgData name="Ischanka, Eugen" userId="e4e12248-2210-4459-89e3-acb2dd10c338" providerId="ADAL" clId="{EDBCA537-9AA3-447E-A484-FAC301ECD392}" dt="2023-12-06T15:18:20.363" v="17479"/>
          <ac:spMkLst>
            <pc:docMk/>
            <pc:sldMk cId="3690981345" sldId="362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8:46.803" v="17296"/>
          <ac:picMkLst>
            <pc:docMk/>
            <pc:sldMk cId="3690981345" sldId="362"/>
            <ac:picMk id="2" creationId="{4DEB2B62-44EA-BAFD-7A8A-CB60C2B2E06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07.584" v="17496"/>
        <pc:sldMkLst>
          <pc:docMk/>
          <pc:sldMk cId="573670748" sldId="367"/>
        </pc:sldMkLst>
        <pc:spChg chg="add del mod">
          <ac:chgData name="Ischanka, Eugen" userId="e4e12248-2210-4459-89e3-acb2dd10c338" providerId="ADAL" clId="{EDBCA537-9AA3-447E-A484-FAC301ECD392}" dt="2023-11-28T11:45:23.793" v="2023" actId="478"/>
          <ac:spMkLst>
            <pc:docMk/>
            <pc:sldMk cId="573670748" sldId="367"/>
            <ac:spMk id="2" creationId="{04F73109-E482-973F-AF0E-EB72A28C40CC}"/>
          </ac:spMkLst>
        </pc:spChg>
        <pc:spChg chg="add mod">
          <ac:chgData name="Ischanka, Eugen" userId="e4e12248-2210-4459-89e3-acb2dd10c338" providerId="ADAL" clId="{EDBCA537-9AA3-447E-A484-FAC301ECD392}" dt="2023-12-03T10:00:50.911" v="14935" actId="20577"/>
          <ac:spMkLst>
            <pc:docMk/>
            <pc:sldMk cId="573670748" sldId="367"/>
            <ac:spMk id="2" creationId="{D4266CE5-C648-C4B6-03EF-1BB167C2E911}"/>
          </ac:spMkLst>
        </pc:spChg>
        <pc:spChg chg="add del mod">
          <ac:chgData name="Ischanka, Eugen" userId="e4e12248-2210-4459-89e3-acb2dd10c338" providerId="ADAL" clId="{EDBCA537-9AA3-447E-A484-FAC301ECD392}" dt="2023-11-21T13:48:29.061" v="1232" actId="478"/>
          <ac:spMkLst>
            <pc:docMk/>
            <pc:sldMk cId="573670748" sldId="367"/>
            <ac:spMk id="2" creationId="{E2E1A7EB-0FE4-7EE5-8B41-8922C8E73A91}"/>
          </ac:spMkLst>
        </pc:spChg>
        <pc:spChg chg="mod">
          <ac:chgData name="Ischanka, Eugen" userId="e4e12248-2210-4459-89e3-acb2dd10c338" providerId="ADAL" clId="{EDBCA537-9AA3-447E-A484-FAC301ECD392}" dt="2023-12-06T15:19:07.584" v="17496"/>
          <ac:spMkLst>
            <pc:docMk/>
            <pc:sldMk cId="573670748" sldId="367"/>
            <ac:spMk id="4" creationId="{991F984F-AE59-8FBC-1F66-684637AC41CC}"/>
          </ac:spMkLst>
        </pc:spChg>
        <pc:spChg chg="add del mod">
          <ac:chgData name="Ischanka, Eugen" userId="e4e12248-2210-4459-89e3-acb2dd10c338" providerId="ADAL" clId="{EDBCA537-9AA3-447E-A484-FAC301ECD392}" dt="2023-11-28T11:45:20.999" v="2022" actId="478"/>
          <ac:spMkLst>
            <pc:docMk/>
            <pc:sldMk cId="573670748" sldId="367"/>
            <ac:spMk id="5" creationId="{7DC2C298-9344-EA43-7520-ECD9F43C27AC}"/>
          </ac:spMkLst>
        </pc:spChg>
        <pc:spChg chg="del">
          <ac:chgData name="Ischanka, Eugen" userId="e4e12248-2210-4459-89e3-acb2dd10c338" providerId="ADAL" clId="{EDBCA537-9AA3-447E-A484-FAC301ECD392}" dt="2023-11-28T11:45:18.767" v="2021" actId="478"/>
          <ac:spMkLst>
            <pc:docMk/>
            <pc:sldMk cId="573670748" sldId="367"/>
            <ac:spMk id="6" creationId="{D742334A-BA2C-38B4-C758-B568007E846E}"/>
          </ac:spMkLst>
        </pc:spChg>
        <pc:spChg chg="del">
          <ac:chgData name="Ischanka, Eugen" userId="e4e12248-2210-4459-89e3-acb2dd10c338" providerId="ADAL" clId="{EDBCA537-9AA3-447E-A484-FAC301ECD392}" dt="2023-11-28T11:45:17.055" v="2020" actId="478"/>
          <ac:spMkLst>
            <pc:docMk/>
            <pc:sldMk cId="573670748" sldId="367"/>
            <ac:spMk id="9" creationId="{BD48EE8A-513D-DD24-C7CB-A933F4C908CB}"/>
          </ac:spMkLst>
        </pc:spChg>
        <pc:graphicFrameChg chg="mod">
          <ac:chgData name="Ischanka, Eugen" userId="e4e12248-2210-4459-89e3-acb2dd10c338" providerId="ADAL" clId="{EDBCA537-9AA3-447E-A484-FAC301ECD392}" dt="2023-11-29T10:46:34.315" v="7050" actId="404"/>
          <ac:graphicFrameMkLst>
            <pc:docMk/>
            <pc:sldMk cId="573670748" sldId="367"/>
            <ac:graphicFrameMk id="10" creationId="{90B8C204-ADCC-68F1-EC0D-0EBCE27891CA}"/>
          </ac:graphicFrameMkLst>
        </pc:graphicFrameChg>
        <pc:picChg chg="add mod">
          <ac:chgData name="Ischanka, Eugen" userId="e4e12248-2210-4459-89e3-acb2dd10c338" providerId="ADAL" clId="{EDBCA537-9AA3-447E-A484-FAC301ECD392}" dt="2023-12-06T15:09:49.318" v="17330"/>
          <ac:picMkLst>
            <pc:docMk/>
            <pc:sldMk cId="573670748" sldId="367"/>
            <ac:picMk id="5" creationId="{297EB82B-0446-7621-A976-834B6368514B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10.205" v="17497"/>
        <pc:sldMkLst>
          <pc:docMk/>
          <pc:sldMk cId="2009142809" sldId="371"/>
        </pc:sldMkLst>
        <pc:spChg chg="add del mod">
          <ac:chgData name="Ischanka, Eugen" userId="e4e12248-2210-4459-89e3-acb2dd10c338" providerId="ADAL" clId="{EDBCA537-9AA3-447E-A484-FAC301ECD392}" dt="2023-11-21T13:47:34.295" v="1231" actId="478"/>
          <ac:spMkLst>
            <pc:docMk/>
            <pc:sldMk cId="2009142809" sldId="371"/>
            <ac:spMk id="2" creationId="{18826303-D33D-AF17-0D3D-4FD9C97917CE}"/>
          </ac:spMkLst>
        </pc:spChg>
        <pc:spChg chg="add del mod">
          <ac:chgData name="Ischanka, Eugen" userId="e4e12248-2210-4459-89e3-acb2dd10c338" providerId="ADAL" clId="{EDBCA537-9AA3-447E-A484-FAC301ECD392}" dt="2023-11-28T11:45:47.216" v="2024" actId="478"/>
          <ac:spMkLst>
            <pc:docMk/>
            <pc:sldMk cId="2009142809" sldId="371"/>
            <ac:spMk id="2" creationId="{664AF399-E5A6-A2D5-5929-31364B286C4F}"/>
          </ac:spMkLst>
        </pc:spChg>
        <pc:spChg chg="add mod">
          <ac:chgData name="Ischanka, Eugen" userId="e4e12248-2210-4459-89e3-acb2dd10c338" providerId="ADAL" clId="{EDBCA537-9AA3-447E-A484-FAC301ECD392}" dt="2023-12-04T07:07:47.896" v="16194" actId="20577"/>
          <ac:spMkLst>
            <pc:docMk/>
            <pc:sldMk cId="2009142809" sldId="371"/>
            <ac:spMk id="2" creationId="{71A1F1D8-5682-82D2-5664-920BF430F108}"/>
          </ac:spMkLst>
        </pc:spChg>
        <pc:spChg chg="mod">
          <ac:chgData name="Ischanka, Eugen" userId="e4e12248-2210-4459-89e3-acb2dd10c338" providerId="ADAL" clId="{EDBCA537-9AA3-447E-A484-FAC301ECD392}" dt="2023-12-06T15:19:10.205" v="17497"/>
          <ac:spMkLst>
            <pc:docMk/>
            <pc:sldMk cId="2009142809" sldId="371"/>
            <ac:spMk id="4" creationId="{378C7F6B-3976-54EF-FCA9-EF3C7F7B07F0}"/>
          </ac:spMkLst>
        </pc:spChg>
        <pc:graphicFrameChg chg="mod">
          <ac:chgData name="Ischanka, Eugen" userId="e4e12248-2210-4459-89e3-acb2dd10c338" providerId="ADAL" clId="{EDBCA537-9AA3-447E-A484-FAC301ECD392}" dt="2023-12-04T07:08:08.468" v="16195" actId="207"/>
          <ac:graphicFrameMkLst>
            <pc:docMk/>
            <pc:sldMk cId="2009142809" sldId="371"/>
            <ac:graphicFrameMk id="7" creationId="{AEE1DF3C-F47B-27F9-F6C3-C3C2BA99C386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0.652" v="17331"/>
          <ac:picMkLst>
            <pc:docMk/>
            <pc:sldMk cId="2009142809" sldId="371"/>
            <ac:picMk id="5" creationId="{1063DFF4-19C2-EB65-7B7A-46DFB64FE9AE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13.141" v="17498"/>
        <pc:sldMkLst>
          <pc:docMk/>
          <pc:sldMk cId="676882289" sldId="372"/>
        </pc:sldMkLst>
        <pc:spChg chg="add mod">
          <ac:chgData name="Ischanka, Eugen" userId="e4e12248-2210-4459-89e3-acb2dd10c338" providerId="ADAL" clId="{EDBCA537-9AA3-447E-A484-FAC301ECD392}" dt="2023-11-29T11:02:27.630" v="8085" actId="1076"/>
          <ac:spMkLst>
            <pc:docMk/>
            <pc:sldMk cId="676882289" sldId="372"/>
            <ac:spMk id="2" creationId="{0AC61DDF-90D1-1C78-99E3-DE1DDB268274}"/>
          </ac:spMkLst>
        </pc:spChg>
        <pc:spChg chg="del">
          <ac:chgData name="Ischanka, Eugen" userId="e4e12248-2210-4459-89e3-acb2dd10c338" providerId="ADAL" clId="{EDBCA537-9AA3-447E-A484-FAC301ECD392}" dt="2023-11-21T13:05:58.857" v="958" actId="478"/>
          <ac:spMkLst>
            <pc:docMk/>
            <pc:sldMk cId="676882289" sldId="372"/>
            <ac:spMk id="2" creationId="{33F6830C-A06C-AEE0-B2A2-5787433C303B}"/>
          </ac:spMkLst>
        </pc:spChg>
        <pc:spChg chg="add del mod">
          <ac:chgData name="Ischanka, Eugen" userId="e4e12248-2210-4459-89e3-acb2dd10c338" providerId="ADAL" clId="{EDBCA537-9AA3-447E-A484-FAC301ECD392}" dt="2023-11-28T11:45:53.343" v="2025" actId="478"/>
          <ac:spMkLst>
            <pc:docMk/>
            <pc:sldMk cId="676882289" sldId="372"/>
            <ac:spMk id="2" creationId="{CE5C2CBD-5C58-8086-EABC-9763B9F1E501}"/>
          </ac:spMkLst>
        </pc:spChg>
        <pc:spChg chg="mod">
          <ac:chgData name="Ischanka, Eugen" userId="e4e12248-2210-4459-89e3-acb2dd10c338" providerId="ADAL" clId="{EDBCA537-9AA3-447E-A484-FAC301ECD392}" dt="2023-12-06T15:19:13.141" v="17498"/>
          <ac:spMkLst>
            <pc:docMk/>
            <pc:sldMk cId="676882289" sldId="372"/>
            <ac:spMk id="4" creationId="{FF5392DF-884E-178D-677F-6A52BE560157}"/>
          </ac:spMkLst>
        </pc:spChg>
        <pc:spChg chg="add del mod">
          <ac:chgData name="Ischanka, Eugen" userId="e4e12248-2210-4459-89e3-acb2dd10c338" providerId="ADAL" clId="{EDBCA537-9AA3-447E-A484-FAC301ECD392}" dt="2023-11-21T13:06:13.257" v="961"/>
          <ac:spMkLst>
            <pc:docMk/>
            <pc:sldMk cId="676882289" sldId="372"/>
            <ac:spMk id="6" creationId="{C95F400D-F983-2B46-5D4D-3EBB22569832}"/>
          </ac:spMkLst>
        </pc:spChg>
        <pc:spChg chg="mod">
          <ac:chgData name="Ischanka, Eugen" userId="e4e12248-2210-4459-89e3-acb2dd10c338" providerId="ADAL" clId="{EDBCA537-9AA3-447E-A484-FAC301ECD392}" dt="2023-11-21T13:45:33.082" v="1142" actId="1076"/>
          <ac:spMkLst>
            <pc:docMk/>
            <pc:sldMk cId="676882289" sldId="372"/>
            <ac:spMk id="9" creationId="{0AEC6D28-74E2-43C5-5DCD-9613D8C7CF2B}"/>
          </ac:spMkLst>
        </pc:spChg>
        <pc:spChg chg="mod">
          <ac:chgData name="Ischanka, Eugen" userId="e4e12248-2210-4459-89e3-acb2dd10c338" providerId="ADAL" clId="{EDBCA537-9AA3-447E-A484-FAC301ECD392}" dt="2023-11-21T13:44:57.572" v="1126" actId="20577"/>
          <ac:spMkLst>
            <pc:docMk/>
            <pc:sldMk cId="676882289" sldId="372"/>
            <ac:spMk id="10" creationId="{52291F58-8409-E731-4340-D2D48937F8C0}"/>
          </ac:spMkLst>
        </pc:spChg>
        <pc:spChg chg="mod">
          <ac:chgData name="Ischanka, Eugen" userId="e4e12248-2210-4459-89e3-acb2dd10c338" providerId="ADAL" clId="{EDBCA537-9AA3-447E-A484-FAC301ECD392}" dt="2023-11-21T13:45:04.505" v="1131" actId="20577"/>
          <ac:spMkLst>
            <pc:docMk/>
            <pc:sldMk cId="676882289" sldId="372"/>
            <ac:spMk id="11" creationId="{DDC7FBE7-ADA1-DCD9-6A4D-6611A76AD7DA}"/>
          </ac:spMkLst>
        </pc:spChg>
        <pc:spChg chg="mod">
          <ac:chgData name="Ischanka, Eugen" userId="e4e12248-2210-4459-89e3-acb2dd10c338" providerId="ADAL" clId="{EDBCA537-9AA3-447E-A484-FAC301ECD392}" dt="2023-11-21T13:45:10.356" v="1136" actId="20577"/>
          <ac:spMkLst>
            <pc:docMk/>
            <pc:sldMk cId="676882289" sldId="372"/>
            <ac:spMk id="12" creationId="{D838C498-6AD8-E003-0D10-3CBB74B00A60}"/>
          </ac:spMkLst>
        </pc:spChg>
        <pc:spChg chg="mod">
          <ac:chgData name="Ischanka, Eugen" userId="e4e12248-2210-4459-89e3-acb2dd10c338" providerId="ADAL" clId="{EDBCA537-9AA3-447E-A484-FAC301ECD392}" dt="2023-11-21T13:45:20.131" v="1141" actId="20577"/>
          <ac:spMkLst>
            <pc:docMk/>
            <pc:sldMk cId="676882289" sldId="372"/>
            <ac:spMk id="13" creationId="{E7121F47-2409-172C-B4BD-C1A4082BA8B3}"/>
          </ac:spMkLst>
        </pc:spChg>
        <pc:spChg chg="add del mod">
          <ac:chgData name="Ischanka, Eugen" userId="e4e12248-2210-4459-89e3-acb2dd10c338" providerId="ADAL" clId="{EDBCA537-9AA3-447E-A484-FAC301ECD392}" dt="2023-11-21T15:02:11.979" v="1508" actId="478"/>
          <ac:spMkLst>
            <pc:docMk/>
            <pc:sldMk cId="676882289" sldId="372"/>
            <ac:spMk id="15" creationId="{03304F19-3115-92A2-0B27-038EF749F1EE}"/>
          </ac:spMkLst>
        </pc:spChg>
        <pc:spChg chg="add mod">
          <ac:chgData name="Ischanka, Eugen" userId="e4e12248-2210-4459-89e3-acb2dd10c338" providerId="ADAL" clId="{EDBCA537-9AA3-447E-A484-FAC301ECD392}" dt="2023-11-21T15:02:12.341" v="1509"/>
          <ac:spMkLst>
            <pc:docMk/>
            <pc:sldMk cId="676882289" sldId="372"/>
            <ac:spMk id="16" creationId="{D2E7225D-DCAC-378F-94F6-681750E3829D}"/>
          </ac:spMkLst>
        </pc:spChg>
        <pc:graphicFrameChg chg="add mod">
          <ac:chgData name="Ischanka, Eugen" userId="e4e12248-2210-4459-89e3-acb2dd10c338" providerId="ADAL" clId="{EDBCA537-9AA3-447E-A484-FAC301ECD392}" dt="2023-11-21T13:43:38.489" v="1110" actId="692"/>
          <ac:graphicFrameMkLst>
            <pc:docMk/>
            <pc:sldMk cId="676882289" sldId="372"/>
            <ac:graphicFrameMk id="7" creationId="{4DB34577-B996-4D1D-BF75-774E51A8DEEE}"/>
          </ac:graphicFrameMkLst>
        </pc:graphicFrameChg>
        <pc:graphicFrameChg chg="del">
          <ac:chgData name="Ischanka, Eugen" userId="e4e12248-2210-4459-89e3-acb2dd10c338" providerId="ADAL" clId="{EDBCA537-9AA3-447E-A484-FAC301ECD392}" dt="2023-11-21T13:06:03.009" v="960" actId="478"/>
          <ac:graphicFrameMkLst>
            <pc:docMk/>
            <pc:sldMk cId="676882289" sldId="372"/>
            <ac:graphicFrameMk id="8" creationId="{F1941C09-1625-44CE-A1B4-C17DC15FA258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3:40:08.791" v="973"/>
          <ac:graphicFrameMkLst>
            <pc:docMk/>
            <pc:sldMk cId="676882289" sldId="372"/>
            <ac:graphicFrameMk id="14" creationId="{26169764-7016-D237-D94D-826E1B664989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1.754" v="17332"/>
          <ac:picMkLst>
            <pc:docMk/>
            <pc:sldMk cId="676882289" sldId="372"/>
            <ac:picMk id="5" creationId="{44623F5D-6213-E243-D45F-9325184AAE5A}"/>
          </ac:picMkLst>
        </pc:picChg>
      </pc:sldChg>
      <pc:sldChg chg="addSp delSp modSp del mod">
        <pc:chgData name="Ischanka, Eugen" userId="e4e12248-2210-4459-89e3-acb2dd10c338" providerId="ADAL" clId="{EDBCA537-9AA3-447E-A484-FAC301ECD392}" dt="2023-12-04T08:38:31.088" v="16212" actId="47"/>
        <pc:sldMkLst>
          <pc:docMk/>
          <pc:sldMk cId="2327630279" sldId="373"/>
        </pc:sldMkLst>
        <pc:spChg chg="add del mod">
          <ac:chgData name="Ischanka, Eugen" userId="e4e12248-2210-4459-89e3-acb2dd10c338" providerId="ADAL" clId="{EDBCA537-9AA3-447E-A484-FAC301ECD392}" dt="2023-11-29T12:46:12.132" v="10113" actId="478"/>
          <ac:spMkLst>
            <pc:docMk/>
            <pc:sldMk cId="2327630279" sldId="373"/>
            <ac:spMk id="2" creationId="{084F6F5E-6AE8-6CBC-8C09-5AE8744CE9B7}"/>
          </ac:spMkLst>
        </pc:spChg>
        <pc:spChg chg="del">
          <ac:chgData name="Ischanka, Eugen" userId="e4e12248-2210-4459-89e3-acb2dd10c338" providerId="ADAL" clId="{EDBCA537-9AA3-447E-A484-FAC301ECD392}" dt="2023-11-21T14:26:01.317" v="1387" actId="478"/>
          <ac:spMkLst>
            <pc:docMk/>
            <pc:sldMk cId="2327630279" sldId="373"/>
            <ac:spMk id="2" creationId="{AEE41A06-5621-352C-203B-1D198F160994}"/>
          </ac:spMkLst>
        </pc:spChg>
        <pc:spChg chg="add del mod">
          <ac:chgData name="Ischanka, Eugen" userId="e4e12248-2210-4459-89e3-acb2dd10c338" providerId="ADAL" clId="{EDBCA537-9AA3-447E-A484-FAC301ECD392}" dt="2023-12-03T11:12:17.912" v="15545" actId="478"/>
          <ac:spMkLst>
            <pc:docMk/>
            <pc:sldMk cId="2327630279" sldId="373"/>
            <ac:spMk id="2" creationId="{BF6FFF98-7F95-64E9-BFEF-C9FAAAFADE66}"/>
          </ac:spMkLst>
        </pc:spChg>
        <pc:spChg chg="add mod">
          <ac:chgData name="Ischanka, Eugen" userId="e4e12248-2210-4459-89e3-acb2dd10c338" providerId="ADAL" clId="{EDBCA537-9AA3-447E-A484-FAC301ECD392}" dt="2023-12-03T11:12:22.340" v="15546" actId="1076"/>
          <ac:spMkLst>
            <pc:docMk/>
            <pc:sldMk cId="2327630279" sldId="373"/>
            <ac:spMk id="5" creationId="{9953B080-4E8B-8B28-3B48-AC22D1723357}"/>
          </ac:spMkLst>
        </pc:spChg>
        <pc:spChg chg="mod">
          <ac:chgData name="Ischanka, Eugen" userId="e4e12248-2210-4459-89e3-acb2dd10c338" providerId="ADAL" clId="{EDBCA537-9AA3-447E-A484-FAC301ECD392}" dt="2023-11-21T15:45:18.285" v="1796" actId="20577"/>
          <ac:spMkLst>
            <pc:docMk/>
            <pc:sldMk cId="2327630279" sldId="373"/>
            <ac:spMk id="6" creationId="{F41CB792-F5E9-78D6-6F8F-01C02AF44205}"/>
          </ac:spMkLst>
        </pc:spChg>
        <pc:spChg chg="mod">
          <ac:chgData name="Ischanka, Eugen" userId="e4e12248-2210-4459-89e3-acb2dd10c338" providerId="ADAL" clId="{EDBCA537-9AA3-447E-A484-FAC301ECD392}" dt="2023-11-21T14:26:38.546" v="1392" actId="1076"/>
          <ac:spMkLst>
            <pc:docMk/>
            <pc:sldMk cId="2327630279" sldId="373"/>
            <ac:spMk id="7" creationId="{2AEDF8D4-6E02-EE0D-24A2-1A3545ABE665}"/>
          </ac:spMkLst>
        </pc:spChg>
        <pc:spChg chg="add del mod">
          <ac:chgData name="Ischanka, Eugen" userId="e4e12248-2210-4459-89e3-acb2dd10c338" providerId="ADAL" clId="{EDBCA537-9AA3-447E-A484-FAC301ECD392}" dt="2023-11-21T14:26:13.686" v="1390"/>
          <ac:spMkLst>
            <pc:docMk/>
            <pc:sldMk cId="2327630279" sldId="373"/>
            <ac:spMk id="9" creationId="{591730AE-BA04-85F9-C7FF-47AC9D99F522}"/>
          </ac:spMkLst>
        </pc:spChg>
        <pc:graphicFrameChg chg="del">
          <ac:chgData name="Ischanka, Eugen" userId="e4e12248-2210-4459-89e3-acb2dd10c338" providerId="ADAL" clId="{EDBCA537-9AA3-447E-A484-FAC301ECD392}" dt="2023-11-21T14:26:06.726" v="1389" actId="478"/>
          <ac:graphicFrameMkLst>
            <pc:docMk/>
            <pc:sldMk cId="2327630279" sldId="373"/>
            <ac:graphicFrameMk id="5" creationId="{346694AC-5D34-A38C-F46F-73C7965196AC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1-21T15:27:50.069" v="1646" actId="20577"/>
          <ac:graphicFrameMkLst>
            <pc:docMk/>
            <pc:sldMk cId="2327630279" sldId="373"/>
            <ac:graphicFrameMk id="10" creationId="{346694AC-5D34-A38C-F46F-73C7965196AC}"/>
          </ac:graphicFrameMkLst>
        </pc:graphicFrameChg>
      </pc:sldChg>
      <pc:sldChg chg="addSp delSp modSp mod">
        <pc:chgData name="Ischanka, Eugen" userId="e4e12248-2210-4459-89e3-acb2dd10c338" providerId="ADAL" clId="{EDBCA537-9AA3-447E-A484-FAC301ECD392}" dt="2023-12-06T15:19:47.351" v="17507"/>
        <pc:sldMkLst>
          <pc:docMk/>
          <pc:sldMk cId="1800175079" sldId="374"/>
        </pc:sldMkLst>
        <pc:spChg chg="del">
          <ac:chgData name="Ischanka, Eugen" userId="e4e12248-2210-4459-89e3-acb2dd10c338" providerId="ADAL" clId="{EDBCA537-9AA3-447E-A484-FAC301ECD392}" dt="2023-11-21T14:40:33.491" v="1440" actId="478"/>
          <ac:spMkLst>
            <pc:docMk/>
            <pc:sldMk cId="1800175079" sldId="374"/>
            <ac:spMk id="2" creationId="{19E6F11C-333B-DADE-774B-1670D731518B}"/>
          </ac:spMkLst>
        </pc:spChg>
        <pc:spChg chg="add del mod">
          <ac:chgData name="Ischanka, Eugen" userId="e4e12248-2210-4459-89e3-acb2dd10c338" providerId="ADAL" clId="{EDBCA537-9AA3-447E-A484-FAC301ECD392}" dt="2023-11-22T07:25:04.832" v="1967"/>
          <ac:spMkLst>
            <pc:docMk/>
            <pc:sldMk cId="1800175079" sldId="374"/>
            <ac:spMk id="2" creationId="{69EA000B-7150-ACDC-1899-F7F5DEAA43BC}"/>
          </ac:spMkLst>
        </pc:spChg>
        <pc:spChg chg="add mod">
          <ac:chgData name="Ischanka, Eugen" userId="e4e12248-2210-4459-89e3-acb2dd10c338" providerId="ADAL" clId="{EDBCA537-9AA3-447E-A484-FAC301ECD392}" dt="2023-12-03T11:30:59.803" v="15609" actId="1076"/>
          <ac:spMkLst>
            <pc:docMk/>
            <pc:sldMk cId="1800175079" sldId="374"/>
            <ac:spMk id="2" creationId="{CCAE2C6E-01E0-9678-7EA8-3C10D643C007}"/>
          </ac:spMkLst>
        </pc:spChg>
        <pc:spChg chg="mod">
          <ac:chgData name="Ischanka, Eugen" userId="e4e12248-2210-4459-89e3-acb2dd10c338" providerId="ADAL" clId="{EDBCA537-9AA3-447E-A484-FAC301ECD392}" dt="2023-11-21T14:42:09.370" v="1453"/>
          <ac:spMkLst>
            <pc:docMk/>
            <pc:sldMk cId="1800175079" sldId="374"/>
            <ac:spMk id="3" creationId="{5422FF84-A844-0BB8-14FC-955581F1B1B4}"/>
          </ac:spMkLst>
        </pc:spChg>
        <pc:spChg chg="mod">
          <ac:chgData name="Ischanka, Eugen" userId="e4e12248-2210-4459-89e3-acb2dd10c338" providerId="ADAL" clId="{EDBCA537-9AA3-447E-A484-FAC301ECD392}" dt="2023-12-06T15:19:47.351" v="17507"/>
          <ac:spMkLst>
            <pc:docMk/>
            <pc:sldMk cId="1800175079" sldId="374"/>
            <ac:spMk id="4" creationId="{FE1DD8D3-A197-B340-B78F-BC9DB81AA460}"/>
          </ac:spMkLst>
        </pc:spChg>
        <pc:spChg chg="add del mod">
          <ac:chgData name="Ischanka, Eugen" userId="e4e12248-2210-4459-89e3-acb2dd10c338" providerId="ADAL" clId="{EDBCA537-9AA3-447E-A484-FAC301ECD392}" dt="2023-11-29T12:53:22.727" v="10725" actId="478"/>
          <ac:spMkLst>
            <pc:docMk/>
            <pc:sldMk cId="1800175079" sldId="374"/>
            <ac:spMk id="5" creationId="{956A524D-A630-8F07-5D02-2F938F20AB3C}"/>
          </ac:spMkLst>
        </pc:spChg>
        <pc:spChg chg="add del mod">
          <ac:chgData name="Ischanka, Eugen" userId="e4e12248-2210-4459-89e3-acb2dd10c338" providerId="ADAL" clId="{EDBCA537-9AA3-447E-A484-FAC301ECD392}" dt="2023-12-03T11:26:26.502" v="15566" actId="478"/>
          <ac:spMkLst>
            <pc:docMk/>
            <pc:sldMk cId="1800175079" sldId="374"/>
            <ac:spMk id="5" creationId="{B99D75D1-559E-C3A0-9155-2BC12B6A7FED}"/>
          </ac:spMkLst>
        </pc:spChg>
        <pc:spChg chg="add del mod ord">
          <ac:chgData name="Ischanka, Eugen" userId="e4e12248-2210-4459-89e3-acb2dd10c338" providerId="ADAL" clId="{EDBCA537-9AA3-447E-A484-FAC301ECD392}" dt="2023-12-03T11:26:52.162" v="15571"/>
          <ac:spMkLst>
            <pc:docMk/>
            <pc:sldMk cId="1800175079" sldId="374"/>
            <ac:spMk id="7" creationId="{907913E7-8E94-0193-A87A-7C357B23017C}"/>
          </ac:spMkLst>
        </pc:spChg>
        <pc:spChg chg="add del mod">
          <ac:chgData name="Ischanka, Eugen" userId="e4e12248-2210-4459-89e3-acb2dd10c338" providerId="ADAL" clId="{EDBCA537-9AA3-447E-A484-FAC301ECD392}" dt="2023-11-21T14:40:41.548" v="1443"/>
          <ac:spMkLst>
            <pc:docMk/>
            <pc:sldMk cId="1800175079" sldId="374"/>
            <ac:spMk id="7" creationId="{E81E9B67-7C3A-3996-DE1C-CA70BC2E754D}"/>
          </ac:spMkLst>
        </pc:spChg>
        <pc:spChg chg="add mod">
          <ac:chgData name="Ischanka, Eugen" userId="e4e12248-2210-4459-89e3-acb2dd10c338" providerId="ADAL" clId="{EDBCA537-9AA3-447E-A484-FAC301ECD392}" dt="2023-11-21T15:45:08.925" v="1788" actId="20577"/>
          <ac:spMkLst>
            <pc:docMk/>
            <pc:sldMk cId="1800175079" sldId="374"/>
            <ac:spMk id="9" creationId="{7713439B-58B0-AE3A-F586-119976602102}"/>
          </ac:spMkLst>
        </pc:spChg>
        <pc:graphicFrameChg chg="del">
          <ac:chgData name="Ischanka, Eugen" userId="e4e12248-2210-4459-89e3-acb2dd10c338" providerId="ADAL" clId="{EDBCA537-9AA3-447E-A484-FAC301ECD392}" dt="2023-11-21T14:40:39.400" v="1442" actId="478"/>
          <ac:graphicFrameMkLst>
            <pc:docMk/>
            <pc:sldMk cId="1800175079" sldId="374"/>
            <ac:graphicFrameMk id="5" creationId="{ECCDB3C9-1C43-F255-6FCA-8DD0D919B400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1:26:40.622" v="15568" actId="478"/>
          <ac:graphicFrameMkLst>
            <pc:docMk/>
            <pc:sldMk cId="1800175079" sldId="374"/>
            <ac:graphicFrameMk id="8" creationId="{ECCDB3C9-1C43-F255-6FCA-8DD0D919B400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1:30:45.903" v="15606" actId="167"/>
          <ac:graphicFrameMkLst>
            <pc:docMk/>
            <pc:sldMk cId="1800175079" sldId="374"/>
            <ac:graphicFrameMk id="10" creationId="{E6E45547-4611-1E16-35AA-4D3A1AA376E2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4.348" v="17341"/>
          <ac:picMkLst>
            <pc:docMk/>
            <pc:sldMk cId="1800175079" sldId="374"/>
            <ac:picMk id="5" creationId="{7319425A-6023-5AA0-8B15-F2C45BA93992}"/>
          </ac:picMkLst>
        </pc:picChg>
      </pc:sldChg>
      <pc:sldChg chg="del">
        <pc:chgData name="Ischanka, Eugen" userId="e4e12248-2210-4459-89e3-acb2dd10c338" providerId="ADAL" clId="{EDBCA537-9AA3-447E-A484-FAC301ECD392}" dt="2023-11-21T13:25:39.543" v="969" actId="47"/>
        <pc:sldMkLst>
          <pc:docMk/>
          <pc:sldMk cId="3281914346" sldId="375"/>
        </pc:sldMkLst>
      </pc:sldChg>
      <pc:sldChg chg="addSp delSp modSp mod">
        <pc:chgData name="Ischanka, Eugen" userId="e4e12248-2210-4459-89e3-acb2dd10c338" providerId="ADAL" clId="{EDBCA537-9AA3-447E-A484-FAC301ECD392}" dt="2023-12-06T15:19:21.956" v="17499"/>
        <pc:sldMkLst>
          <pc:docMk/>
          <pc:sldMk cId="3269083357" sldId="376"/>
        </pc:sldMkLst>
        <pc:spChg chg="del">
          <ac:chgData name="Ischanka, Eugen" userId="e4e12248-2210-4459-89e3-acb2dd10c338" providerId="ADAL" clId="{EDBCA537-9AA3-447E-A484-FAC301ECD392}" dt="2023-11-21T13:53:05.715" v="1315" actId="478"/>
          <ac:spMkLst>
            <pc:docMk/>
            <pc:sldMk cId="3269083357" sldId="376"/>
            <ac:spMk id="2" creationId="{735F2F2F-3EE0-70C1-F07B-C230CC5ADFBA}"/>
          </ac:spMkLst>
        </pc:spChg>
        <pc:spChg chg="add del mod">
          <ac:chgData name="Ischanka, Eugen" userId="e4e12248-2210-4459-89e3-acb2dd10c338" providerId="ADAL" clId="{EDBCA537-9AA3-447E-A484-FAC301ECD392}" dt="2023-11-29T11:12:01.143" v="8452" actId="478"/>
          <ac:spMkLst>
            <pc:docMk/>
            <pc:sldMk cId="3269083357" sldId="376"/>
            <ac:spMk id="2" creationId="{E9B2F63B-9DD0-AC7E-FD18-08456C76E0E8}"/>
          </ac:spMkLst>
        </pc:spChg>
        <pc:spChg chg="mod">
          <ac:chgData name="Ischanka, Eugen" userId="e4e12248-2210-4459-89e3-acb2dd10c338" providerId="ADAL" clId="{EDBCA537-9AA3-447E-A484-FAC301ECD392}" dt="2023-12-06T15:19:21.956" v="17499"/>
          <ac:spMkLst>
            <pc:docMk/>
            <pc:sldMk cId="3269083357" sldId="376"/>
            <ac:spMk id="4" creationId="{ABD993F8-85DE-125E-FEF7-E9FF8432EE95}"/>
          </ac:spMkLst>
        </pc:spChg>
        <pc:spChg chg="add mod">
          <ac:chgData name="Ischanka, Eugen" userId="e4e12248-2210-4459-89e3-acb2dd10c338" providerId="ADAL" clId="{EDBCA537-9AA3-447E-A484-FAC301ECD392}" dt="2023-12-03T10:01:47.354" v="14952" actId="14100"/>
          <ac:spMkLst>
            <pc:docMk/>
            <pc:sldMk cId="3269083357" sldId="376"/>
            <ac:spMk id="5" creationId="{40735B38-3FCF-3CA3-04C1-D7BC45068843}"/>
          </ac:spMkLst>
        </pc:spChg>
        <pc:spChg chg="add del mod">
          <ac:chgData name="Ischanka, Eugen" userId="e4e12248-2210-4459-89e3-acb2dd10c338" providerId="ADAL" clId="{EDBCA537-9AA3-447E-A484-FAC301ECD392}" dt="2023-11-21T15:02:15.539" v="1510" actId="478"/>
          <ac:spMkLst>
            <pc:docMk/>
            <pc:sldMk cId="3269083357" sldId="376"/>
            <ac:spMk id="7" creationId="{3A5144A5-27EA-DDA8-1482-DB2E1FC8420E}"/>
          </ac:spMkLst>
        </pc:spChg>
        <pc:spChg chg="add del mod">
          <ac:chgData name="Ischanka, Eugen" userId="e4e12248-2210-4459-89e3-acb2dd10c338" providerId="ADAL" clId="{EDBCA537-9AA3-447E-A484-FAC301ECD392}" dt="2023-11-21T13:53:13.770" v="1317"/>
          <ac:spMkLst>
            <pc:docMk/>
            <pc:sldMk cId="3269083357" sldId="376"/>
            <ac:spMk id="9" creationId="{B1ED59D0-8F35-AF9C-51C6-32B978A44F3D}"/>
          </ac:spMkLst>
        </pc:spChg>
        <pc:spChg chg="add mod">
          <ac:chgData name="Ischanka, Eugen" userId="e4e12248-2210-4459-89e3-acb2dd10c338" providerId="ADAL" clId="{EDBCA537-9AA3-447E-A484-FAC301ECD392}" dt="2023-11-21T15:02:15.743" v="1511"/>
          <ac:spMkLst>
            <pc:docMk/>
            <pc:sldMk cId="3269083357" sldId="376"/>
            <ac:spMk id="11" creationId="{38755FF1-7720-4702-25A0-FDF496B52655}"/>
          </ac:spMkLst>
        </pc:spChg>
        <pc:graphicFrameChg chg="del mod">
          <ac:chgData name="Ischanka, Eugen" userId="e4e12248-2210-4459-89e3-acb2dd10c338" providerId="ADAL" clId="{EDBCA537-9AA3-447E-A484-FAC301ECD392}" dt="2023-11-21T13:53:07.757" v="1316" actId="478"/>
          <ac:graphicFrameMkLst>
            <pc:docMk/>
            <pc:sldMk cId="3269083357" sldId="376"/>
            <ac:graphicFrameMk id="5" creationId="{1A860266-F824-45CE-A547-C31411C798BF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30T11:00:11.506" v="13214" actId="20577"/>
          <ac:graphicFrameMkLst>
            <pc:docMk/>
            <pc:sldMk cId="3269083357" sldId="376"/>
            <ac:graphicFrameMk id="6" creationId="{6ACFA3C3-1B23-89E6-71E3-32DCBF652CE3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1-21T13:55:14.262" v="1358" actId="692"/>
          <ac:graphicFrameMkLst>
            <pc:docMk/>
            <pc:sldMk cId="3269083357" sldId="376"/>
            <ac:graphicFrameMk id="10" creationId="{07DE902D-EC4B-4A07-9A73-348C2AB5A114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3.127" v="17333"/>
          <ac:picMkLst>
            <pc:docMk/>
            <pc:sldMk cId="3269083357" sldId="376"/>
            <ac:picMk id="2" creationId="{72154EEA-D15B-E45D-4423-53EBB02154F5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25.611" v="17500"/>
        <pc:sldMkLst>
          <pc:docMk/>
          <pc:sldMk cId="1621961505" sldId="377"/>
        </pc:sldMkLst>
        <pc:spChg chg="del mod">
          <ac:chgData name="Ischanka, Eugen" userId="e4e12248-2210-4459-89e3-acb2dd10c338" providerId="ADAL" clId="{EDBCA537-9AA3-447E-A484-FAC301ECD392}" dt="2023-11-29T11:22:43.419" v="9425" actId="478"/>
          <ac:spMkLst>
            <pc:docMk/>
            <pc:sldMk cId="1621961505" sldId="377"/>
            <ac:spMk id="2" creationId="{7A513624-CB1B-32DF-C7FC-061D2C623346}"/>
          </ac:spMkLst>
        </pc:spChg>
        <pc:spChg chg="mod">
          <ac:chgData name="Ischanka, Eugen" userId="e4e12248-2210-4459-89e3-acb2dd10c338" providerId="ADAL" clId="{EDBCA537-9AA3-447E-A484-FAC301ECD392}" dt="2023-12-06T15:19:25.611" v="17500"/>
          <ac:spMkLst>
            <pc:docMk/>
            <pc:sldMk cId="1621961505" sldId="377"/>
            <ac:spMk id="4" creationId="{88D60274-7484-4A6E-7CCC-292A1D294FFC}"/>
          </ac:spMkLst>
        </pc:spChg>
        <pc:spChg chg="add mod">
          <ac:chgData name="Ischanka, Eugen" userId="e4e12248-2210-4459-89e3-acb2dd10c338" providerId="ADAL" clId="{EDBCA537-9AA3-447E-A484-FAC301ECD392}" dt="2023-11-29T15:52:23.901" v="11805" actId="207"/>
          <ac:spMkLst>
            <pc:docMk/>
            <pc:sldMk cId="1621961505" sldId="377"/>
            <ac:spMk id="5" creationId="{F4AC0E66-0373-A826-B77A-75C97D6B2BC0}"/>
          </ac:spMkLst>
        </pc:spChg>
        <pc:spChg chg="add mod">
          <ac:chgData name="Ischanka, Eugen" userId="e4e12248-2210-4459-89e3-acb2dd10c338" providerId="ADAL" clId="{EDBCA537-9AA3-447E-A484-FAC301ECD392}" dt="2023-12-04T11:51:06.921" v="17255" actId="20577"/>
          <ac:spMkLst>
            <pc:docMk/>
            <pc:sldMk cId="1621961505" sldId="377"/>
            <ac:spMk id="6" creationId="{BFCF0DDB-E4E6-C3F4-6969-F5E6AD4E378E}"/>
          </ac:spMkLst>
        </pc:spChg>
        <pc:spChg chg="add del mod">
          <ac:chgData name="Ischanka, Eugen" userId="e4e12248-2210-4459-89e3-acb2dd10c338" providerId="ADAL" clId="{EDBCA537-9AA3-447E-A484-FAC301ECD392}" dt="2023-12-04T08:36:39.370" v="16211" actId="478"/>
          <ac:spMkLst>
            <pc:docMk/>
            <pc:sldMk cId="1621961505" sldId="377"/>
            <ac:spMk id="7" creationId="{31D58BA8-85A6-7D18-7217-C6AEABE490E1}"/>
          </ac:spMkLst>
        </pc:spChg>
        <pc:spChg chg="mod">
          <ac:chgData name="Ischanka, Eugen" userId="e4e12248-2210-4459-89e3-acb2dd10c338" providerId="ADAL" clId="{EDBCA537-9AA3-447E-A484-FAC301ECD392}" dt="2023-12-04T11:51:49.320" v="17265" actId="20577"/>
          <ac:spMkLst>
            <pc:docMk/>
            <pc:sldMk cId="1621961505" sldId="377"/>
            <ac:spMk id="14" creationId="{2EB2CB67-4512-27AE-AC8D-1BE3521C1379}"/>
          </ac:spMkLst>
        </pc:spChg>
        <pc:graphicFrameChg chg="modGraphic">
          <ac:chgData name="Ischanka, Eugen" userId="e4e12248-2210-4459-89e3-acb2dd10c338" providerId="ADAL" clId="{EDBCA537-9AA3-447E-A484-FAC301ECD392}" dt="2023-11-30T10:41:23.487" v="13198" actId="2165"/>
          <ac:graphicFrameMkLst>
            <pc:docMk/>
            <pc:sldMk cId="1621961505" sldId="377"/>
            <ac:graphicFrameMk id="13" creationId="{B9CBF595-39E4-F6F5-3D46-AE4FCCA8EDBF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4.360" v="17334"/>
          <ac:picMkLst>
            <pc:docMk/>
            <pc:sldMk cId="1621961505" sldId="377"/>
            <ac:picMk id="2" creationId="{3523061F-F279-D65D-A41D-B9620DC77B53}"/>
          </ac:picMkLst>
        </pc:picChg>
      </pc:sldChg>
      <pc:sldChg chg="del">
        <pc:chgData name="Ischanka, Eugen" userId="e4e12248-2210-4459-89e3-acb2dd10c338" providerId="ADAL" clId="{EDBCA537-9AA3-447E-A484-FAC301ECD392}" dt="2023-11-21T13:26:37.991" v="970" actId="47"/>
        <pc:sldMkLst>
          <pc:docMk/>
          <pc:sldMk cId="2777772671" sldId="380"/>
        </pc:sldMkLst>
      </pc:sldChg>
      <pc:sldChg chg="addSp modSp mod">
        <pc:chgData name="Ischanka, Eugen" userId="e4e12248-2210-4459-89e3-acb2dd10c338" providerId="ADAL" clId="{EDBCA537-9AA3-447E-A484-FAC301ECD392}" dt="2023-12-06T15:19:28.756" v="17501"/>
        <pc:sldMkLst>
          <pc:docMk/>
          <pc:sldMk cId="1916996503" sldId="382"/>
        </pc:sldMkLst>
        <pc:spChg chg="mod">
          <ac:chgData name="Ischanka, Eugen" userId="e4e12248-2210-4459-89e3-acb2dd10c338" providerId="ADAL" clId="{EDBCA537-9AA3-447E-A484-FAC301ECD392}" dt="2023-12-06T15:19:28.756" v="17501"/>
          <ac:spMkLst>
            <pc:docMk/>
            <pc:sldMk cId="1916996503" sldId="382"/>
            <ac:spMk id="4" creationId="{37759982-973B-45C5-A2D3-2EB8EA3702EF}"/>
          </ac:spMkLst>
        </pc:spChg>
        <pc:spChg chg="mod">
          <ac:chgData name="Ischanka, Eugen" userId="e4e12248-2210-4459-89e3-acb2dd10c338" providerId="ADAL" clId="{EDBCA537-9AA3-447E-A484-FAC301ECD392}" dt="2023-11-29T15:52:30.466" v="11807" actId="207"/>
          <ac:spMkLst>
            <pc:docMk/>
            <pc:sldMk cId="1916996503" sldId="382"/>
            <ac:spMk id="7" creationId="{53B26BFF-5B53-C0BF-8875-3CBA0612145F}"/>
          </ac:spMkLst>
        </pc:spChg>
        <pc:graphicFrameChg chg="mod modGraphic">
          <ac:chgData name="Ischanka, Eugen" userId="e4e12248-2210-4459-89e3-acb2dd10c338" providerId="ADAL" clId="{EDBCA537-9AA3-447E-A484-FAC301ECD392}" dt="2023-11-30T11:41:08.829" v="13220" actId="20577"/>
          <ac:graphicFrameMkLst>
            <pc:docMk/>
            <pc:sldMk cId="1916996503" sldId="382"/>
            <ac:graphicFrameMk id="2" creationId="{F16ABC52-3A95-32A4-A473-2E0950F6F32F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5.832" v="17335"/>
          <ac:picMkLst>
            <pc:docMk/>
            <pc:sldMk cId="1916996503" sldId="382"/>
            <ac:picMk id="6" creationId="{4C30E9E9-B40C-65F8-16FA-9BF7566CBEC3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8:23.183" v="17480"/>
        <pc:sldMkLst>
          <pc:docMk/>
          <pc:sldMk cId="375593325" sldId="384"/>
        </pc:sldMkLst>
        <pc:spChg chg="mod">
          <ac:chgData name="Ischanka, Eugen" userId="e4e12248-2210-4459-89e3-acb2dd10c338" providerId="ADAL" clId="{EDBCA537-9AA3-447E-A484-FAC301ECD392}" dt="2023-12-06T15:18:23.183" v="17480"/>
          <ac:spMkLst>
            <pc:docMk/>
            <pc:sldMk cId="375593325" sldId="384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8:48.421" v="17297"/>
          <ac:picMkLst>
            <pc:docMk/>
            <pc:sldMk cId="375593325" sldId="384"/>
            <ac:picMk id="2" creationId="{7AD32D4E-ACE1-A48D-5F5B-D489FD44DFC2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8:49.116" v="17489"/>
        <pc:sldMkLst>
          <pc:docMk/>
          <pc:sldMk cId="2261440095" sldId="385"/>
        </pc:sldMkLst>
        <pc:spChg chg="mod">
          <ac:chgData name="Ischanka, Eugen" userId="e4e12248-2210-4459-89e3-acb2dd10c338" providerId="ADAL" clId="{EDBCA537-9AA3-447E-A484-FAC301ECD392}" dt="2023-12-06T15:18:49.116" v="17489"/>
          <ac:spMkLst>
            <pc:docMk/>
            <pc:sldMk cId="2261440095" sldId="385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9:06.211" v="17306"/>
          <ac:picMkLst>
            <pc:docMk/>
            <pc:sldMk cId="2261440095" sldId="385"/>
            <ac:picMk id="2" creationId="{DB1530EC-BD7D-BF53-AFFF-224EE0DE2E6F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9:05.126" v="17495"/>
        <pc:sldMkLst>
          <pc:docMk/>
          <pc:sldMk cId="413857255" sldId="386"/>
        </pc:sldMkLst>
        <pc:spChg chg="mod">
          <ac:chgData name="Ischanka, Eugen" userId="e4e12248-2210-4459-89e3-acb2dd10c338" providerId="ADAL" clId="{EDBCA537-9AA3-447E-A484-FAC301ECD392}" dt="2023-12-06T15:19:05.126" v="17495"/>
          <ac:spMkLst>
            <pc:docMk/>
            <pc:sldMk cId="413857255" sldId="386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9:47.877" v="17329"/>
          <ac:picMkLst>
            <pc:docMk/>
            <pc:sldMk cId="413857255" sldId="386"/>
            <ac:picMk id="2" creationId="{59538C8A-0F68-0C76-A8A8-1040665BDF5F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9:32.362" v="17502"/>
        <pc:sldMkLst>
          <pc:docMk/>
          <pc:sldMk cId="778696541" sldId="387"/>
        </pc:sldMkLst>
        <pc:spChg chg="mod">
          <ac:chgData name="Ischanka, Eugen" userId="e4e12248-2210-4459-89e3-acb2dd10c338" providerId="ADAL" clId="{EDBCA537-9AA3-447E-A484-FAC301ECD392}" dt="2023-12-06T15:19:32.362" v="17502"/>
          <ac:spMkLst>
            <pc:docMk/>
            <pc:sldMk cId="778696541" sldId="387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9:57.065" v="17336"/>
          <ac:picMkLst>
            <pc:docMk/>
            <pc:sldMk cId="778696541" sldId="387"/>
            <ac:picMk id="2" creationId="{C4FE5422-E693-51E5-F9B3-5CCBFC69214B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9:40.642" v="17505"/>
        <pc:sldMkLst>
          <pc:docMk/>
          <pc:sldMk cId="3389607607" sldId="388"/>
        </pc:sldMkLst>
        <pc:spChg chg="mod">
          <ac:chgData name="Ischanka, Eugen" userId="e4e12248-2210-4459-89e3-acb2dd10c338" providerId="ADAL" clId="{EDBCA537-9AA3-447E-A484-FAC301ECD392}" dt="2023-12-06T15:19:40.642" v="17505"/>
          <ac:spMkLst>
            <pc:docMk/>
            <pc:sldMk cId="3389607607" sldId="388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10:01.759" v="17339"/>
          <ac:picMkLst>
            <pc:docMk/>
            <pc:sldMk cId="3389607607" sldId="388"/>
            <ac:picMk id="2" creationId="{D5FB0C3D-7BA1-5B3C-34FE-F17644C778AC}"/>
          </ac:picMkLst>
        </pc:picChg>
      </pc:sldChg>
      <pc:sldChg chg="addSp delSp modSp">
        <pc:chgData name="Ischanka, Eugen" userId="e4e12248-2210-4459-89e3-acb2dd10c338" providerId="ADAL" clId="{EDBCA537-9AA3-447E-A484-FAC301ECD392}" dt="2023-12-06T15:11:21.693" v="17360" actId="478"/>
        <pc:sldMkLst>
          <pc:docMk/>
          <pc:sldMk cId="2778634486" sldId="389"/>
        </pc:sldMkLst>
        <pc:spChg chg="add del">
          <ac:chgData name="Ischanka, Eugen" userId="e4e12248-2210-4459-89e3-acb2dd10c338" providerId="ADAL" clId="{EDBCA537-9AA3-447E-A484-FAC301ECD392}" dt="2023-12-06T15:07:07.374" v="17281"/>
          <ac:spMkLst>
            <pc:docMk/>
            <pc:sldMk cId="2778634486" sldId="389"/>
            <ac:spMk id="2" creationId="{74619E68-2A8E-EC82-EBDD-A80F2A80D626}"/>
          </ac:spMkLst>
        </pc:spChg>
        <pc:picChg chg="add del mod">
          <ac:chgData name="Ischanka, Eugen" userId="e4e12248-2210-4459-89e3-acb2dd10c338" providerId="ADAL" clId="{EDBCA537-9AA3-447E-A484-FAC301ECD392}" dt="2023-12-06T15:08:29.176" v="17292" actId="478"/>
          <ac:picMkLst>
            <pc:docMk/>
            <pc:sldMk cId="2778634486" sldId="389"/>
            <ac:picMk id="3" creationId="{6003C226-3EDA-1DD0-909F-C10FC03638D2}"/>
          </ac:picMkLst>
        </pc:picChg>
        <pc:picChg chg="add del mod">
          <ac:chgData name="Ischanka, Eugen" userId="e4e12248-2210-4459-89e3-acb2dd10c338" providerId="ADAL" clId="{EDBCA537-9AA3-447E-A484-FAC301ECD392}" dt="2023-12-06T15:08:27.505" v="17291"/>
          <ac:picMkLst>
            <pc:docMk/>
            <pc:sldMk cId="2778634486" sldId="389"/>
            <ac:picMk id="4" creationId="{BBD7E51B-D241-F8F9-D12D-398A9471242B}"/>
          </ac:picMkLst>
        </pc:picChg>
        <pc:picChg chg="add del mod">
          <ac:chgData name="Ischanka, Eugen" userId="e4e12248-2210-4459-89e3-acb2dd10c338" providerId="ADAL" clId="{EDBCA537-9AA3-447E-A484-FAC301ECD392}" dt="2023-12-06T15:11:21.693" v="17360" actId="478"/>
          <ac:picMkLst>
            <pc:docMk/>
            <pc:sldMk cId="2778634486" sldId="389"/>
            <ac:picMk id="5" creationId="{3CC444EE-4A01-23FB-20D6-BCC778D7B588}"/>
          </ac:picMkLst>
        </pc:picChg>
      </pc:sldChg>
      <pc:sldChg chg="addSp delSp modSp">
        <pc:chgData name="Ischanka, Eugen" userId="e4e12248-2210-4459-89e3-acb2dd10c338" providerId="ADAL" clId="{EDBCA537-9AA3-447E-A484-FAC301ECD392}" dt="2023-12-06T15:11:13.439" v="17359" actId="478"/>
        <pc:sldMkLst>
          <pc:docMk/>
          <pc:sldMk cId="2581716097" sldId="390"/>
        </pc:sldMkLst>
        <pc:picChg chg="add del mod">
          <ac:chgData name="Ischanka, Eugen" userId="e4e12248-2210-4459-89e3-acb2dd10c338" providerId="ADAL" clId="{EDBCA537-9AA3-447E-A484-FAC301ECD392}" dt="2023-12-06T15:11:13.439" v="17359" actId="478"/>
          <ac:picMkLst>
            <pc:docMk/>
            <pc:sldMk cId="2581716097" sldId="390"/>
            <ac:picMk id="4" creationId="{8B257988-4A53-B5CA-A50A-49087EC3539B}"/>
          </ac:picMkLst>
        </pc:picChg>
      </pc:sldChg>
      <pc:sldChg chg="del">
        <pc:chgData name="Ischanka, Eugen" userId="e4e12248-2210-4459-89e3-acb2dd10c338" providerId="ADAL" clId="{EDBCA537-9AA3-447E-A484-FAC301ECD392}" dt="2023-11-30T07:10:36.514" v="12222" actId="47"/>
        <pc:sldMkLst>
          <pc:docMk/>
          <pc:sldMk cId="2572988039" sldId="391"/>
        </pc:sldMkLst>
      </pc:sldChg>
      <pc:sldChg chg="modSp del mod ord">
        <pc:chgData name="Ischanka, Eugen" userId="e4e12248-2210-4459-89e3-acb2dd10c338" providerId="ADAL" clId="{EDBCA537-9AA3-447E-A484-FAC301ECD392}" dt="2023-12-04T06:39:47.020" v="16081" actId="47"/>
        <pc:sldMkLst>
          <pc:docMk/>
          <pc:sldMk cId="1242065525" sldId="392"/>
        </pc:sldMkLst>
        <pc:spChg chg="mod">
          <ac:chgData name="Ischanka, Eugen" userId="e4e12248-2210-4459-89e3-acb2dd10c338" providerId="ADAL" clId="{EDBCA537-9AA3-447E-A484-FAC301ECD392}" dt="2023-12-04T06:39:18.661" v="16080" actId="400"/>
          <ac:spMkLst>
            <pc:docMk/>
            <pc:sldMk cId="1242065525" sldId="392"/>
            <ac:spMk id="5" creationId="{700A4A9F-8590-FEEB-D2C4-FBD631F0C1AA}"/>
          </ac:spMkLst>
        </pc:spChg>
      </pc:sldChg>
      <pc:sldChg chg="addSp delSp modSp del mod">
        <pc:chgData name="Ischanka, Eugen" userId="e4e12248-2210-4459-89e3-acb2dd10c338" providerId="ADAL" clId="{EDBCA537-9AA3-447E-A484-FAC301ECD392}" dt="2023-12-04T09:51:59.026" v="17137" actId="47"/>
        <pc:sldMkLst>
          <pc:docMk/>
          <pc:sldMk cId="1582316385" sldId="397"/>
        </pc:sldMkLst>
        <pc:spChg chg="del">
          <ac:chgData name="Ischanka, Eugen" userId="e4e12248-2210-4459-89e3-acb2dd10c338" providerId="ADAL" clId="{EDBCA537-9AA3-447E-A484-FAC301ECD392}" dt="2023-11-30T07:11:23.084" v="12227" actId="478"/>
          <ac:spMkLst>
            <pc:docMk/>
            <pc:sldMk cId="1582316385" sldId="397"/>
            <ac:spMk id="2" creationId="{9D97BA14-C507-23BF-FA8C-D4FECC856365}"/>
          </ac:spMkLst>
        </pc:spChg>
        <pc:spChg chg="mod">
          <ac:chgData name="Ischanka, Eugen" userId="e4e12248-2210-4459-89e3-acb2dd10c338" providerId="ADAL" clId="{EDBCA537-9AA3-447E-A484-FAC301ECD392}" dt="2023-11-30T07:13:36.525" v="12456" actId="1076"/>
          <ac:spMkLst>
            <pc:docMk/>
            <pc:sldMk cId="1582316385" sldId="397"/>
            <ac:spMk id="3" creationId="{B188BE0F-7AED-3FAE-8A86-C6DDAE07A9D2}"/>
          </ac:spMkLst>
        </pc:spChg>
        <pc:spChg chg="mod">
          <ac:chgData name="Ischanka, Eugen" userId="e4e12248-2210-4459-89e3-acb2dd10c338" providerId="ADAL" clId="{EDBCA537-9AA3-447E-A484-FAC301ECD392}" dt="2023-11-30T07:11:31.836" v="12229" actId="20577"/>
          <ac:spMkLst>
            <pc:docMk/>
            <pc:sldMk cId="1582316385" sldId="397"/>
            <ac:spMk id="5" creationId="{700A4A9F-8590-FEEB-D2C4-FBD631F0C1AA}"/>
          </ac:spMkLst>
        </pc:spChg>
        <pc:spChg chg="mod">
          <ac:chgData name="Ischanka, Eugen" userId="e4e12248-2210-4459-89e3-acb2dd10c338" providerId="ADAL" clId="{EDBCA537-9AA3-447E-A484-FAC301ECD392}" dt="2023-12-04T06:38:41.833" v="16075" actId="115"/>
          <ac:spMkLst>
            <pc:docMk/>
            <pc:sldMk cId="1582316385" sldId="397"/>
            <ac:spMk id="8" creationId="{03C1BA03-88C4-EF3F-7B37-80FA3DC956DA}"/>
          </ac:spMkLst>
        </pc:spChg>
        <pc:spChg chg="del mod">
          <ac:chgData name="Ischanka, Eugen" userId="e4e12248-2210-4459-89e3-acb2dd10c338" providerId="ADAL" clId="{EDBCA537-9AA3-447E-A484-FAC301ECD392}" dt="2023-12-04T06:38:56.007" v="16077" actId="478"/>
          <ac:spMkLst>
            <pc:docMk/>
            <pc:sldMk cId="1582316385" sldId="397"/>
            <ac:spMk id="11" creationId="{B11EBCB6-1EA0-7ACF-307F-F7CDDCBFAF53}"/>
          </ac:spMkLst>
        </pc:spChg>
        <pc:graphicFrameChg chg="add del mod">
          <ac:chgData name="Ischanka, Eugen" userId="e4e12248-2210-4459-89e3-acb2dd10c338" providerId="ADAL" clId="{EDBCA537-9AA3-447E-A484-FAC301ECD392}" dt="2023-12-04T09:46:56.626" v="16644" actId="478"/>
          <ac:graphicFrameMkLst>
            <pc:docMk/>
            <pc:sldMk cId="1582316385" sldId="397"/>
            <ac:graphicFrameMk id="2" creationId="{2B09CFE6-D30D-2D83-3AA9-F6939D86D869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4T09:49:12.275" v="16974" actId="20577"/>
          <ac:graphicFrameMkLst>
            <pc:docMk/>
            <pc:sldMk cId="1582316385" sldId="397"/>
            <ac:graphicFrameMk id="10" creationId="{BAAFC82F-40D1-A98C-27CF-47E30855B6BF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4T09:48:24.620" v="16935"/>
          <ac:graphicFrameMkLst>
            <pc:docMk/>
            <pc:sldMk cId="1582316385" sldId="397"/>
            <ac:graphicFrameMk id="12" creationId="{18C247ED-E6E8-FB6E-7325-BF65101C1E52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4T09:48:42.634" v="16940" actId="478"/>
          <ac:graphicFrameMkLst>
            <pc:docMk/>
            <pc:sldMk cId="1582316385" sldId="397"/>
            <ac:graphicFrameMk id="13" creationId="{85C238C5-5176-DD53-B5B0-F92D924AA844}"/>
          </ac:graphicFrameMkLst>
        </pc:graphicFrameChg>
      </pc:sldChg>
      <pc:sldChg chg="addSp delSp modSp add mod">
        <pc:chgData name="Ischanka, Eugen" userId="e4e12248-2210-4459-89e3-acb2dd10c338" providerId="ADAL" clId="{EDBCA537-9AA3-447E-A484-FAC301ECD392}" dt="2023-12-06T15:18:40.837" v="17486"/>
        <pc:sldMkLst>
          <pc:docMk/>
          <pc:sldMk cId="3548618951" sldId="398"/>
        </pc:sldMkLst>
        <pc:spChg chg="add del mod">
          <ac:chgData name="Ischanka, Eugen" userId="e4e12248-2210-4459-89e3-acb2dd10c338" providerId="ADAL" clId="{EDBCA537-9AA3-447E-A484-FAC301ECD392}" dt="2023-12-01T13:46:45.202" v="13639" actId="478"/>
          <ac:spMkLst>
            <pc:docMk/>
            <pc:sldMk cId="3548618951" sldId="398"/>
            <ac:spMk id="2" creationId="{7720A20F-21E9-FC4D-EF20-9DEAD0701DA3}"/>
          </ac:spMkLst>
        </pc:spChg>
        <pc:spChg chg="mod">
          <ac:chgData name="Ischanka, Eugen" userId="e4e12248-2210-4459-89e3-acb2dd10c338" providerId="ADAL" clId="{EDBCA537-9AA3-447E-A484-FAC301ECD392}" dt="2023-12-06T15:18:40.837" v="17486"/>
          <ac:spMkLst>
            <pc:docMk/>
            <pc:sldMk cId="3548618951" sldId="398"/>
            <ac:spMk id="4" creationId="{A9B80F58-A5AC-C116-E6E4-72DDB8ABC855}"/>
          </ac:spMkLst>
        </pc:spChg>
        <pc:spChg chg="mod">
          <ac:chgData name="Ischanka, Eugen" userId="e4e12248-2210-4459-89e3-acb2dd10c338" providerId="ADAL" clId="{EDBCA537-9AA3-447E-A484-FAC301ECD392}" dt="2023-12-01T13:52:54.314" v="13691" actId="20577"/>
          <ac:spMkLst>
            <pc:docMk/>
            <pc:sldMk cId="3548618951" sldId="398"/>
            <ac:spMk id="6" creationId="{E7F4107A-D447-E6C6-DBC5-FD95FD19F3BD}"/>
          </ac:spMkLst>
        </pc:spChg>
        <pc:spChg chg="add del mod">
          <ac:chgData name="Ischanka, Eugen" userId="e4e12248-2210-4459-89e3-acb2dd10c338" providerId="ADAL" clId="{EDBCA537-9AA3-447E-A484-FAC301ECD392}" dt="2023-12-01T13:47:23.128" v="13642"/>
          <ac:spMkLst>
            <pc:docMk/>
            <pc:sldMk cId="3548618951" sldId="398"/>
            <ac:spMk id="7" creationId="{63FABB3C-FE66-9431-ABB1-67D9CD88D4EF}"/>
          </ac:spMkLst>
        </pc:spChg>
        <pc:spChg chg="del mod ord">
          <ac:chgData name="Ischanka, Eugen" userId="e4e12248-2210-4459-89e3-acb2dd10c338" providerId="ADAL" clId="{EDBCA537-9AA3-447E-A484-FAC301ECD392}" dt="2023-11-28T11:38:35.239" v="2004" actId="478"/>
          <ac:spMkLst>
            <pc:docMk/>
            <pc:sldMk cId="3548618951" sldId="398"/>
            <ac:spMk id="7" creationId="{6589FFF1-597B-2917-4F0E-B764A65DCAEB}"/>
          </ac:spMkLst>
        </pc:spChg>
        <pc:spChg chg="add del mod">
          <ac:chgData name="Ischanka, Eugen" userId="e4e12248-2210-4459-89e3-acb2dd10c338" providerId="ADAL" clId="{EDBCA537-9AA3-447E-A484-FAC301ECD392}" dt="2023-11-21T11:12:28.932" v="119"/>
          <ac:spMkLst>
            <pc:docMk/>
            <pc:sldMk cId="3548618951" sldId="398"/>
            <ac:spMk id="8" creationId="{03DA2054-F9A0-FFF2-8081-9717882FBB6C}"/>
          </ac:spMkLst>
        </pc:spChg>
        <pc:spChg chg="add del mod">
          <ac:chgData name="Ischanka, Eugen" userId="e4e12248-2210-4459-89e3-acb2dd10c338" providerId="ADAL" clId="{EDBCA537-9AA3-447E-A484-FAC301ECD392}" dt="2023-11-28T11:38:36.014" v="2005" actId="478"/>
          <ac:spMkLst>
            <pc:docMk/>
            <pc:sldMk cId="3548618951" sldId="398"/>
            <ac:spMk id="10" creationId="{3923C845-F68E-94FA-945D-BDC2EAA2FAAD}"/>
          </ac:spMkLst>
        </pc:spChg>
        <pc:graphicFrameChg chg="del">
          <ac:chgData name="Ischanka, Eugen" userId="e4e12248-2210-4459-89e3-acb2dd10c338" providerId="ADAL" clId="{EDBCA537-9AA3-447E-A484-FAC301ECD392}" dt="2023-11-21T11:12:11.072" v="118" actId="478"/>
          <ac:graphicFrameMkLst>
            <pc:docMk/>
            <pc:sldMk cId="3548618951" sldId="398"/>
            <ac:graphicFrameMk id="5" creationId="{C671E813-78AD-514F-430A-0FA468F16149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1T13:50:01.018" v="13653"/>
          <ac:graphicFrameMkLst>
            <pc:docMk/>
            <pc:sldMk cId="3548618951" sldId="398"/>
            <ac:graphicFrameMk id="8" creationId="{012EDAB8-3DF8-451E-9634-A2F0C995E29E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1T13:47:15.207" v="13641" actId="478"/>
          <ac:graphicFrameMkLst>
            <pc:docMk/>
            <pc:sldMk cId="3548618951" sldId="398"/>
            <ac:graphicFrameMk id="9" creationId="{012EDAB8-3DF8-451E-9634-A2F0C995E29E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9.983" v="17303"/>
          <ac:picMkLst>
            <pc:docMk/>
            <pc:sldMk cId="3548618951" sldId="398"/>
            <ac:picMk id="2" creationId="{B23CBEA0-9351-DE12-6B6A-21CA5A99B4D6}"/>
          </ac:picMkLst>
        </pc:picChg>
      </pc:sldChg>
      <pc:sldChg chg="addSp delSp modSp add mod">
        <pc:chgData name="Ischanka, Eugen" userId="e4e12248-2210-4459-89e3-acb2dd10c338" providerId="ADAL" clId="{EDBCA537-9AA3-447E-A484-FAC301ECD392}" dt="2023-12-06T15:18:43.708" v="17487"/>
        <pc:sldMkLst>
          <pc:docMk/>
          <pc:sldMk cId="2861099419" sldId="399"/>
        </pc:sldMkLst>
        <pc:spChg chg="del">
          <ac:chgData name="Ischanka, Eugen" userId="e4e12248-2210-4459-89e3-acb2dd10c338" providerId="ADAL" clId="{EDBCA537-9AA3-447E-A484-FAC301ECD392}" dt="2023-11-21T11:23:21.616" v="249" actId="478"/>
          <ac:spMkLst>
            <pc:docMk/>
            <pc:sldMk cId="2861099419" sldId="399"/>
            <ac:spMk id="2" creationId="{1C793B39-6F0A-1A22-8A6F-76FCA1272D0A}"/>
          </ac:spMkLst>
        </pc:spChg>
        <pc:spChg chg="add del mod">
          <ac:chgData name="Ischanka, Eugen" userId="e4e12248-2210-4459-89e3-acb2dd10c338" providerId="ADAL" clId="{EDBCA537-9AA3-447E-A484-FAC301ECD392}" dt="2023-12-01T13:55:16.912" v="13692" actId="478"/>
          <ac:spMkLst>
            <pc:docMk/>
            <pc:sldMk cId="2861099419" sldId="399"/>
            <ac:spMk id="2" creationId="{44F534C9-D3AB-A8AA-9920-A317522B1B07}"/>
          </ac:spMkLst>
        </pc:spChg>
        <pc:spChg chg="add mod">
          <ac:chgData name="Ischanka, Eugen" userId="e4e12248-2210-4459-89e3-acb2dd10c338" providerId="ADAL" clId="{EDBCA537-9AA3-447E-A484-FAC301ECD392}" dt="2023-12-03T09:53:35.435" v="14885" actId="20577"/>
          <ac:spMkLst>
            <pc:docMk/>
            <pc:sldMk cId="2861099419" sldId="399"/>
            <ac:spMk id="2" creationId="{9DD37688-D8BA-C5EF-53D2-BE76E0DCA948}"/>
          </ac:spMkLst>
        </pc:spChg>
        <pc:spChg chg="mod">
          <ac:chgData name="Ischanka, Eugen" userId="e4e12248-2210-4459-89e3-acb2dd10c338" providerId="ADAL" clId="{EDBCA537-9AA3-447E-A484-FAC301ECD392}" dt="2023-12-01T14:19:08.566" v="13757" actId="21"/>
          <ac:spMkLst>
            <pc:docMk/>
            <pc:sldMk cId="2861099419" sldId="399"/>
            <ac:spMk id="3" creationId="{F938F78F-B6C1-2651-0189-2110C802B580}"/>
          </ac:spMkLst>
        </pc:spChg>
        <pc:spChg chg="mod">
          <ac:chgData name="Ischanka, Eugen" userId="e4e12248-2210-4459-89e3-acb2dd10c338" providerId="ADAL" clId="{EDBCA537-9AA3-447E-A484-FAC301ECD392}" dt="2023-12-06T15:18:43.708" v="17487"/>
          <ac:spMkLst>
            <pc:docMk/>
            <pc:sldMk cId="2861099419" sldId="399"/>
            <ac:spMk id="4" creationId="{803CD5D5-9DD0-AAA9-1004-6C7BA826BA98}"/>
          </ac:spMkLst>
        </pc:spChg>
        <pc:spChg chg="del mod">
          <ac:chgData name="Ischanka, Eugen" userId="e4e12248-2210-4459-89e3-acb2dd10c338" providerId="ADAL" clId="{EDBCA537-9AA3-447E-A484-FAC301ECD392}" dt="2023-11-28T11:38:45.982" v="2007" actId="478"/>
          <ac:spMkLst>
            <pc:docMk/>
            <pc:sldMk cId="2861099419" sldId="399"/>
            <ac:spMk id="6" creationId="{125BE5A1-9D79-2417-8774-A3F2022F4966}"/>
          </ac:spMkLst>
        </pc:spChg>
        <pc:spChg chg="add del mod ord">
          <ac:chgData name="Ischanka, Eugen" userId="e4e12248-2210-4459-89e3-acb2dd10c338" providerId="ADAL" clId="{EDBCA537-9AA3-447E-A484-FAC301ECD392}" dt="2023-11-21T11:24:59.146" v="254"/>
          <ac:spMkLst>
            <pc:docMk/>
            <pc:sldMk cId="2861099419" sldId="399"/>
            <ac:spMk id="7" creationId="{ABE35E00-E885-8E8D-1FA5-D69E0B9AF6B1}"/>
          </ac:spMkLst>
        </pc:spChg>
        <pc:spChg chg="add mod">
          <ac:chgData name="Ischanka, Eugen" userId="e4e12248-2210-4459-89e3-acb2dd10c338" providerId="ADAL" clId="{EDBCA537-9AA3-447E-A484-FAC301ECD392}" dt="2023-12-01T14:19:46.226" v="13780" actId="1076"/>
          <ac:spMkLst>
            <pc:docMk/>
            <pc:sldMk cId="2861099419" sldId="399"/>
            <ac:spMk id="9" creationId="{94EE71CB-E905-2BA9-87E2-FF1F7C4F361D}"/>
          </ac:spMkLst>
        </pc:spChg>
        <pc:spChg chg="add del mod">
          <ac:chgData name="Ischanka, Eugen" userId="e4e12248-2210-4459-89e3-acb2dd10c338" providerId="ADAL" clId="{EDBCA537-9AA3-447E-A484-FAC301ECD392}" dt="2023-11-21T11:33:48.159" v="398" actId="478"/>
          <ac:spMkLst>
            <pc:docMk/>
            <pc:sldMk cId="2861099419" sldId="399"/>
            <ac:spMk id="10" creationId="{D1D6C6B1-3A2A-F931-C160-70193AEC3424}"/>
          </ac:spMkLst>
        </pc:spChg>
        <pc:spChg chg="add mod">
          <ac:chgData name="Ischanka, Eugen" userId="e4e12248-2210-4459-89e3-acb2dd10c338" providerId="ADAL" clId="{EDBCA537-9AA3-447E-A484-FAC301ECD392}" dt="2023-11-21T11:37:39.203" v="473"/>
          <ac:spMkLst>
            <pc:docMk/>
            <pc:sldMk cId="2861099419" sldId="399"/>
            <ac:spMk id="12" creationId="{CA11CF5C-F78B-7AC5-F864-AA499EF2AF83}"/>
          </ac:spMkLst>
        </pc:spChg>
        <pc:spChg chg="add del mod">
          <ac:chgData name="Ischanka, Eugen" userId="e4e12248-2210-4459-89e3-acb2dd10c338" providerId="ADAL" clId="{EDBCA537-9AA3-447E-A484-FAC301ECD392}" dt="2023-11-28T11:38:46.773" v="2008" actId="478"/>
          <ac:spMkLst>
            <pc:docMk/>
            <pc:sldMk cId="2861099419" sldId="399"/>
            <ac:spMk id="13" creationId="{5F89FB8A-F428-5C00-F959-C729DAECA793}"/>
          </ac:spMkLst>
        </pc:spChg>
        <pc:spChg chg="del">
          <ac:chgData name="Ischanka, Eugen" userId="e4e12248-2210-4459-89e3-acb2dd10c338" providerId="ADAL" clId="{EDBCA537-9AA3-447E-A484-FAC301ECD392}" dt="2023-11-21T11:23:37.396" v="253" actId="478"/>
          <ac:spMkLst>
            <pc:docMk/>
            <pc:sldMk cId="2861099419" sldId="399"/>
            <ac:spMk id="18" creationId="{CA16C171-3D4A-1D77-CEE7-5893B3ACD923}"/>
          </ac:spMkLst>
        </pc:spChg>
        <pc:graphicFrameChg chg="add del mod">
          <ac:chgData name="Ischanka, Eugen" userId="e4e12248-2210-4459-89e3-acb2dd10c338" providerId="ADAL" clId="{EDBCA537-9AA3-447E-A484-FAC301ECD392}" dt="2023-12-01T13:57:56.900" v="13701" actId="478"/>
          <ac:graphicFrameMkLst>
            <pc:docMk/>
            <pc:sldMk cId="2861099419" sldId="399"/>
            <ac:graphicFrameMk id="5" creationId="{F59D94BD-06ED-D76F-AFE5-23B4D7F98722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2-01T14:01:25.551" v="13726" actId="478"/>
          <ac:graphicFrameMkLst>
            <pc:docMk/>
            <pc:sldMk cId="2861099419" sldId="399"/>
            <ac:graphicFrameMk id="6" creationId="{874BE49F-C966-5748-2A49-79B1DF85515B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1T14:24:48.243" v="13821" actId="122"/>
          <ac:graphicFrameMkLst>
            <pc:docMk/>
            <pc:sldMk cId="2861099419" sldId="399"/>
            <ac:graphicFrameMk id="8" creationId="{530DF6F2-A25E-DB3E-D2A6-7A602C18DD58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3T09:52:40.213" v="14848" actId="20577"/>
          <ac:graphicFrameMkLst>
            <pc:docMk/>
            <pc:sldMk cId="2861099419" sldId="399"/>
            <ac:graphicFrameMk id="11" creationId="{563B676E-748B-2421-6988-35EFEE0E07B2}"/>
          </ac:graphicFrameMkLst>
        </pc:graphicFrameChg>
        <pc:graphicFrameChg chg="del">
          <ac:chgData name="Ischanka, Eugen" userId="e4e12248-2210-4459-89e3-acb2dd10c338" providerId="ADAL" clId="{EDBCA537-9AA3-447E-A484-FAC301ECD392}" dt="2023-11-21T11:23:25.116" v="250" actId="478"/>
          <ac:graphicFrameMkLst>
            <pc:docMk/>
            <pc:sldMk cId="2861099419" sldId="399"/>
            <ac:graphicFrameMk id="14" creationId="{021865AE-B14B-7BF3-1742-CC2C6501F158}"/>
          </ac:graphicFrameMkLst>
        </pc:graphicFrameChg>
        <pc:graphicFrameChg chg="del">
          <ac:chgData name="Ischanka, Eugen" userId="e4e12248-2210-4459-89e3-acb2dd10c338" providerId="ADAL" clId="{EDBCA537-9AA3-447E-A484-FAC301ECD392}" dt="2023-11-21T11:23:35.536" v="252" actId="478"/>
          <ac:graphicFrameMkLst>
            <pc:docMk/>
            <pc:sldMk cId="2861099419" sldId="399"/>
            <ac:graphicFrameMk id="17" creationId="{0FD16FB1-183A-3160-BA43-611B1773398E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1.833" v="17304"/>
          <ac:picMkLst>
            <pc:docMk/>
            <pc:sldMk cId="2861099419" sldId="399"/>
            <ac:picMk id="5" creationId="{6F63BFF9-DB18-EE93-60B9-730F820B58EC}"/>
          </ac:picMkLst>
        </pc:picChg>
      </pc:sldChg>
      <pc:sldChg chg="addSp delSp modSp new del mod ord">
        <pc:chgData name="Ischanka, Eugen" userId="e4e12248-2210-4459-89e3-acb2dd10c338" providerId="ADAL" clId="{EDBCA537-9AA3-447E-A484-FAC301ECD392}" dt="2023-12-04T10:00:35.587" v="17174" actId="47"/>
        <pc:sldMkLst>
          <pc:docMk/>
          <pc:sldMk cId="1859432598" sldId="400"/>
        </pc:sldMkLst>
        <pc:spChg chg="add del mod">
          <ac:chgData name="Ischanka, Eugen" userId="e4e12248-2210-4459-89e3-acb2dd10c338" providerId="ADAL" clId="{EDBCA537-9AA3-447E-A484-FAC301ECD392}" dt="2023-11-30T06:57:14.016" v="11924" actId="478"/>
          <ac:spMkLst>
            <pc:docMk/>
            <pc:sldMk cId="1859432598" sldId="400"/>
            <ac:spMk id="2" creationId="{654D6FFB-0E6D-7EA4-1AFB-52C51A991B3A}"/>
          </ac:spMkLst>
        </pc:spChg>
        <pc:spChg chg="add del mod">
          <ac:chgData name="Ischanka, Eugen" userId="e4e12248-2210-4459-89e3-acb2dd10c338" providerId="ADAL" clId="{EDBCA537-9AA3-447E-A484-FAC301ECD392}" dt="2023-12-01T14:10:36.031" v="13740" actId="478"/>
          <ac:spMkLst>
            <pc:docMk/>
            <pc:sldMk cId="1859432598" sldId="400"/>
            <ac:spMk id="2" creationId="{98A12353-E200-87E7-7F31-FB42879DDD16}"/>
          </ac:spMkLst>
        </pc:spChg>
        <pc:spChg chg="add del mod">
          <ac:chgData name="Ischanka, Eugen" userId="e4e12248-2210-4459-89e3-acb2dd10c338" providerId="ADAL" clId="{EDBCA537-9AA3-447E-A484-FAC301ECD392}" dt="2023-11-21T11:42:46.617" v="610" actId="478"/>
          <ac:spMkLst>
            <pc:docMk/>
            <pc:sldMk cId="1859432598" sldId="400"/>
            <ac:spMk id="2" creationId="{D5169C07-5D19-E0E7-37ED-D9D663FE90DD}"/>
          </ac:spMkLst>
        </pc:spChg>
        <pc:spChg chg="mod">
          <ac:chgData name="Ischanka, Eugen" userId="e4e12248-2210-4459-89e3-acb2dd10c338" providerId="ADAL" clId="{EDBCA537-9AA3-447E-A484-FAC301ECD392}" dt="2023-12-04T06:41:23.177" v="16192" actId="20577"/>
          <ac:spMkLst>
            <pc:docMk/>
            <pc:sldMk cId="1859432598" sldId="400"/>
            <ac:spMk id="3" creationId="{F11FA804-0B43-1778-F6C1-54AC8B2B6E79}"/>
          </ac:spMkLst>
        </pc:spChg>
        <pc:spChg chg="mod">
          <ac:chgData name="Ischanka, Eugen" userId="e4e12248-2210-4459-89e3-acb2dd10c338" providerId="ADAL" clId="{EDBCA537-9AA3-447E-A484-FAC301ECD392}" dt="2023-11-21T11:39:22.124" v="492"/>
          <ac:spMkLst>
            <pc:docMk/>
            <pc:sldMk cId="1859432598" sldId="400"/>
            <ac:spMk id="4" creationId="{1A8CD8E2-4C31-515D-6588-05C322444D4B}"/>
          </ac:spMkLst>
        </pc:spChg>
        <pc:spChg chg="add mod">
          <ac:chgData name="Ischanka, Eugen" userId="e4e12248-2210-4459-89e3-acb2dd10c338" providerId="ADAL" clId="{EDBCA537-9AA3-447E-A484-FAC301ECD392}" dt="2023-11-30T08:02:57.763" v="12491" actId="2085"/>
          <ac:spMkLst>
            <pc:docMk/>
            <pc:sldMk cId="1859432598" sldId="400"/>
            <ac:spMk id="5" creationId="{DC32B0F8-EE2F-57F7-75A5-BD79DB46BA26}"/>
          </ac:spMkLst>
        </pc:spChg>
        <pc:spChg chg="add mod">
          <ac:chgData name="Ischanka, Eugen" userId="e4e12248-2210-4459-89e3-acb2dd10c338" providerId="ADAL" clId="{EDBCA537-9AA3-447E-A484-FAC301ECD392}" dt="2023-12-01T14:26:42.002" v="13886" actId="20577"/>
          <ac:spMkLst>
            <pc:docMk/>
            <pc:sldMk cId="1859432598" sldId="400"/>
            <ac:spMk id="6" creationId="{C3897E58-8B01-3172-05BF-E3A8B9799FDB}"/>
          </ac:spMkLst>
        </pc:spChg>
        <pc:spChg chg="add del mod">
          <ac:chgData name="Ischanka, Eugen" userId="e4e12248-2210-4459-89e3-acb2dd10c338" providerId="ADAL" clId="{EDBCA537-9AA3-447E-A484-FAC301ECD392}" dt="2023-11-30T08:03:06.828" v="12493" actId="478"/>
          <ac:spMkLst>
            <pc:docMk/>
            <pc:sldMk cId="1859432598" sldId="400"/>
            <ac:spMk id="6" creationId="{CC9ACC33-CD18-5F21-3941-BC4A0096C61D}"/>
          </ac:spMkLst>
        </pc:spChg>
        <pc:spChg chg="add mod">
          <ac:chgData name="Ischanka, Eugen" userId="e4e12248-2210-4459-89e3-acb2dd10c338" providerId="ADAL" clId="{EDBCA537-9AA3-447E-A484-FAC301ECD392}" dt="2023-12-01T14:10:03.966" v="13737" actId="20577"/>
          <ac:spMkLst>
            <pc:docMk/>
            <pc:sldMk cId="1859432598" sldId="400"/>
            <ac:spMk id="7" creationId="{67CC2633-1A21-145C-E38D-91C9B8C79667}"/>
          </ac:spMkLst>
        </pc:spChg>
        <pc:spChg chg="add mod">
          <ac:chgData name="Ischanka, Eugen" userId="e4e12248-2210-4459-89e3-acb2dd10c338" providerId="ADAL" clId="{EDBCA537-9AA3-447E-A484-FAC301ECD392}" dt="2023-11-30T08:33:08.228" v="13012" actId="5793"/>
          <ac:spMkLst>
            <pc:docMk/>
            <pc:sldMk cId="1859432598" sldId="400"/>
            <ac:spMk id="8" creationId="{2C4489DF-33EE-14A2-47A1-84B905C8B3E1}"/>
          </ac:spMkLst>
        </pc:spChg>
        <pc:spChg chg="add mod">
          <ac:chgData name="Ischanka, Eugen" userId="e4e12248-2210-4459-89e3-acb2dd10c338" providerId="ADAL" clId="{EDBCA537-9AA3-447E-A484-FAC301ECD392}" dt="2023-12-01T14:10:25.241" v="13739" actId="20577"/>
          <ac:spMkLst>
            <pc:docMk/>
            <pc:sldMk cId="1859432598" sldId="400"/>
            <ac:spMk id="9" creationId="{21B989F7-8EFC-FC64-03E3-13CDF5A95B6D}"/>
          </ac:spMkLst>
        </pc:spChg>
        <pc:spChg chg="add mod">
          <ac:chgData name="Ischanka, Eugen" userId="e4e12248-2210-4459-89e3-acb2dd10c338" providerId="ADAL" clId="{EDBCA537-9AA3-447E-A484-FAC301ECD392}" dt="2023-11-30T08:33:49.408" v="13028" actId="20577"/>
          <ac:spMkLst>
            <pc:docMk/>
            <pc:sldMk cId="1859432598" sldId="400"/>
            <ac:spMk id="10" creationId="{9053F4C7-FDEC-E19A-8FBB-D70B48BA044C}"/>
          </ac:spMkLst>
        </pc:spChg>
        <pc:spChg chg="add mod">
          <ac:chgData name="Ischanka, Eugen" userId="e4e12248-2210-4459-89e3-acb2dd10c338" providerId="ADAL" clId="{EDBCA537-9AA3-447E-A484-FAC301ECD392}" dt="2023-11-30T08:39:51.775" v="13195" actId="1076"/>
          <ac:spMkLst>
            <pc:docMk/>
            <pc:sldMk cId="1859432598" sldId="400"/>
            <ac:spMk id="11" creationId="{B2241A0B-5C2D-8B1F-BEC7-7F66011B6A97}"/>
          </ac:spMkLst>
        </pc:spChg>
        <pc:spChg chg="add del mod">
          <ac:chgData name="Ischanka, Eugen" userId="e4e12248-2210-4459-89e3-acb2dd10c338" providerId="ADAL" clId="{EDBCA537-9AA3-447E-A484-FAC301ECD392}" dt="2023-11-29T08:35:32.529" v="2162" actId="478"/>
          <ac:spMkLst>
            <pc:docMk/>
            <pc:sldMk cId="1859432598" sldId="400"/>
            <ac:spMk id="12" creationId="{665B31FB-64FD-84D4-E308-1826269CC4D5}"/>
          </ac:spMkLst>
        </pc:spChg>
        <pc:spChg chg="add mod">
          <ac:chgData name="Ischanka, Eugen" userId="e4e12248-2210-4459-89e3-acb2dd10c338" providerId="ADAL" clId="{EDBCA537-9AA3-447E-A484-FAC301ECD392}" dt="2023-11-30T08:34:12.319" v="13032" actId="20577"/>
          <ac:spMkLst>
            <pc:docMk/>
            <pc:sldMk cId="1859432598" sldId="400"/>
            <ac:spMk id="13" creationId="{5BAAD9A8-49A1-672D-AE2E-F70BFFC30D66}"/>
          </ac:spMkLst>
        </pc:spChg>
        <pc:graphicFrameChg chg="add del mod">
          <ac:chgData name="Ischanka, Eugen" userId="e4e12248-2210-4459-89e3-acb2dd10c338" providerId="ADAL" clId="{EDBCA537-9AA3-447E-A484-FAC301ECD392}" dt="2023-11-21T11:40:27.241" v="494"/>
          <ac:graphicFrameMkLst>
            <pc:docMk/>
            <pc:sldMk cId="1859432598" sldId="400"/>
            <ac:graphicFrameMk id="5" creationId="{60F254F8-9535-5E3D-8942-64E7DB90A263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1:44:41.465" v="650" actId="478"/>
          <ac:graphicFrameMkLst>
            <pc:docMk/>
            <pc:sldMk cId="1859432598" sldId="400"/>
            <ac:graphicFrameMk id="6" creationId="{4F850ADB-7E74-6E51-294D-41F6F4E5AAB4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1:52:43.900" v="700"/>
          <ac:graphicFrameMkLst>
            <pc:docMk/>
            <pc:sldMk cId="1859432598" sldId="400"/>
            <ac:graphicFrameMk id="11" creationId="{16F7771D-2237-B648-ADC0-586C6F30703F}"/>
          </ac:graphicFrameMkLst>
        </pc:graphicFrameChg>
      </pc:sldChg>
      <pc:sldChg chg="new del">
        <pc:chgData name="Ischanka, Eugen" userId="e4e12248-2210-4459-89e3-acb2dd10c338" providerId="ADAL" clId="{EDBCA537-9AA3-447E-A484-FAC301ECD392}" dt="2023-11-21T12:47:09.261" v="897" actId="47"/>
        <pc:sldMkLst>
          <pc:docMk/>
          <pc:sldMk cId="2368281435" sldId="401"/>
        </pc:sldMkLst>
      </pc:sldChg>
      <pc:sldChg chg="modSp new del mod">
        <pc:chgData name="Ischanka, Eugen" userId="e4e12248-2210-4459-89e3-acb2dd10c338" providerId="ADAL" clId="{EDBCA537-9AA3-447E-A484-FAC301ECD392}" dt="2023-11-29T10:01:04.590" v="4902" actId="47"/>
        <pc:sldMkLst>
          <pc:docMk/>
          <pc:sldMk cId="3567056323" sldId="401"/>
        </pc:sldMkLst>
        <pc:spChg chg="mod">
          <ac:chgData name="Ischanka, Eugen" userId="e4e12248-2210-4459-89e3-acb2dd10c338" providerId="ADAL" clId="{EDBCA537-9AA3-447E-A484-FAC301ECD392}" dt="2023-11-21T12:47:46.221" v="908"/>
          <ac:spMkLst>
            <pc:docMk/>
            <pc:sldMk cId="3567056323" sldId="401"/>
            <ac:spMk id="3" creationId="{A7F89456-F069-5DCE-34BE-329088E0C0A0}"/>
          </ac:spMkLst>
        </pc:spChg>
        <pc:spChg chg="mod">
          <ac:chgData name="Ischanka, Eugen" userId="e4e12248-2210-4459-89e3-acb2dd10c338" providerId="ADAL" clId="{EDBCA537-9AA3-447E-A484-FAC301ECD392}" dt="2023-11-21T12:47:42.381" v="907"/>
          <ac:spMkLst>
            <pc:docMk/>
            <pc:sldMk cId="3567056323" sldId="401"/>
            <ac:spMk id="4" creationId="{784D8579-6ADD-B4C8-907C-987B1695A60B}"/>
          </ac:spMkLst>
        </pc:spChg>
        <pc:graphicFrameChg chg="mod">
          <ac:chgData name="Ischanka, Eugen" userId="e4e12248-2210-4459-89e3-acb2dd10c338" providerId="ADAL" clId="{EDBCA537-9AA3-447E-A484-FAC301ECD392}" dt="2023-11-29T08:40:10.284" v="2200" actId="1076"/>
          <ac:graphicFrameMkLst>
            <pc:docMk/>
            <pc:sldMk cId="3567056323" sldId="401"/>
            <ac:graphicFrameMk id="7" creationId="{BD02E007-7A08-9D8C-EC6F-DEAE675D5405}"/>
          </ac:graphicFrameMkLst>
        </pc:graphicFrameChg>
      </pc:sldChg>
      <pc:sldChg chg="new del">
        <pc:chgData name="Ischanka, Eugen" userId="e4e12248-2210-4459-89e3-acb2dd10c338" providerId="ADAL" clId="{EDBCA537-9AA3-447E-A484-FAC301ECD392}" dt="2023-11-21T12:48:17.251" v="915" actId="47"/>
        <pc:sldMkLst>
          <pc:docMk/>
          <pc:sldMk cId="747207046" sldId="402"/>
        </pc:sldMkLst>
      </pc:sldChg>
      <pc:sldChg chg="add del ord">
        <pc:chgData name="Ischanka, Eugen" userId="e4e12248-2210-4459-89e3-acb2dd10c338" providerId="ADAL" clId="{EDBCA537-9AA3-447E-A484-FAC301ECD392}" dt="2023-11-29T10:42:12.046" v="6619" actId="47"/>
        <pc:sldMkLst>
          <pc:docMk/>
          <pc:sldMk cId="4187003761" sldId="402"/>
        </pc:sldMkLst>
      </pc:sldChg>
      <pc:sldChg chg="add del">
        <pc:chgData name="Ischanka, Eugen" userId="e4e12248-2210-4459-89e3-acb2dd10c338" providerId="ADAL" clId="{EDBCA537-9AA3-447E-A484-FAC301ECD392}" dt="2023-11-21T14:29:18.409" v="1439" actId="47"/>
        <pc:sldMkLst>
          <pc:docMk/>
          <pc:sldMk cId="429922235" sldId="403"/>
        </pc:sldMkLst>
      </pc:sldChg>
      <pc:sldChg chg="modSp add del mod">
        <pc:chgData name="Ischanka, Eugen" userId="e4e12248-2210-4459-89e3-acb2dd10c338" providerId="ADAL" clId="{EDBCA537-9AA3-447E-A484-FAC301ECD392}" dt="2023-11-21T15:03:46.047" v="1527" actId="47"/>
        <pc:sldMkLst>
          <pc:docMk/>
          <pc:sldMk cId="1474777060" sldId="403"/>
        </pc:sldMkLst>
        <pc:spChg chg="mod">
          <ac:chgData name="Ischanka, Eugen" userId="e4e12248-2210-4459-89e3-acb2dd10c338" providerId="ADAL" clId="{EDBCA537-9AA3-447E-A484-FAC301ECD392}" dt="2023-11-21T15:03:32.430" v="1525" actId="20577"/>
          <ac:spMkLst>
            <pc:docMk/>
            <pc:sldMk cId="1474777060" sldId="403"/>
            <ac:spMk id="8" creationId="{23439DCE-E513-8773-7780-499077619164}"/>
          </ac:spMkLst>
        </pc:spChg>
      </pc:sldChg>
      <pc:sldChg chg="add del">
        <pc:chgData name="Ischanka, Eugen" userId="e4e12248-2210-4459-89e3-acb2dd10c338" providerId="ADAL" clId="{EDBCA537-9AA3-447E-A484-FAC301ECD392}" dt="2023-11-21T14:41:59.159" v="1452" actId="47"/>
        <pc:sldMkLst>
          <pc:docMk/>
          <pc:sldMk cId="1531716518" sldId="403"/>
        </pc:sldMkLst>
      </pc:sldChg>
      <pc:sldChg chg="add del">
        <pc:chgData name="Ischanka, Eugen" userId="e4e12248-2210-4459-89e3-acb2dd10c338" providerId="ADAL" clId="{EDBCA537-9AA3-447E-A484-FAC301ECD392}" dt="2023-11-21T13:51:04.878" v="1312" actId="47"/>
        <pc:sldMkLst>
          <pc:docMk/>
          <pc:sldMk cId="4278955865" sldId="403"/>
        </pc:sldMkLst>
      </pc:sldChg>
      <pc:sldChg chg="addSp modSp new del mod ord">
        <pc:chgData name="Ischanka, Eugen" userId="e4e12248-2210-4459-89e3-acb2dd10c338" providerId="ADAL" clId="{EDBCA537-9AA3-447E-A484-FAC301ECD392}" dt="2023-11-29T13:36:50.611" v="10913" actId="47"/>
        <pc:sldMkLst>
          <pc:docMk/>
          <pc:sldMk cId="595939842" sldId="404"/>
        </pc:sldMkLst>
        <pc:spChg chg="mod">
          <ac:chgData name="Ischanka, Eugen" userId="e4e12248-2210-4459-89e3-acb2dd10c338" providerId="ADAL" clId="{EDBCA537-9AA3-447E-A484-FAC301ECD392}" dt="2023-11-21T15:06:18.503" v="1594"/>
          <ac:spMkLst>
            <pc:docMk/>
            <pc:sldMk cId="595939842" sldId="404"/>
            <ac:spMk id="3" creationId="{69AD368B-7CC9-0FD7-2B5F-C9873C56000C}"/>
          </ac:spMkLst>
        </pc:spChg>
        <pc:spChg chg="mod">
          <ac:chgData name="Ischanka, Eugen" userId="e4e12248-2210-4459-89e3-acb2dd10c338" providerId="ADAL" clId="{EDBCA537-9AA3-447E-A484-FAC301ECD392}" dt="2023-11-21T15:06:14.150" v="1593"/>
          <ac:spMkLst>
            <pc:docMk/>
            <pc:sldMk cId="595939842" sldId="404"/>
            <ac:spMk id="4" creationId="{3C2194B4-C4AE-B5B2-B1FC-874205452268}"/>
          </ac:spMkLst>
        </pc:spChg>
        <pc:spChg chg="add mod">
          <ac:chgData name="Ischanka, Eugen" userId="e4e12248-2210-4459-89e3-acb2dd10c338" providerId="ADAL" clId="{EDBCA537-9AA3-447E-A484-FAC301ECD392}" dt="2023-11-21T15:06:00.034" v="1592" actId="20577"/>
          <ac:spMkLst>
            <pc:docMk/>
            <pc:sldMk cId="595939842" sldId="404"/>
            <ac:spMk id="5" creationId="{07BD017A-A99F-5400-4AED-8B4430C3DC11}"/>
          </ac:spMkLst>
        </pc:spChg>
      </pc:sldChg>
      <pc:sldChg chg="add del">
        <pc:chgData name="Ischanka, Eugen" userId="e4e12248-2210-4459-89e3-acb2dd10c338" providerId="ADAL" clId="{EDBCA537-9AA3-447E-A484-FAC301ECD392}" dt="2023-11-29T14:34:07.055" v="11362" actId="47"/>
        <pc:sldMkLst>
          <pc:docMk/>
          <pc:sldMk cId="1015150644" sldId="405"/>
        </pc:sldMkLst>
      </pc:sldChg>
      <pc:sldChg chg="addSp delSp modSp mod">
        <pc:chgData name="Ischanka, Eugen" userId="e4e12248-2210-4459-89e3-acb2dd10c338" providerId="ADAL" clId="{EDBCA537-9AA3-447E-A484-FAC301ECD392}" dt="2023-12-06T15:19:37.689" v="17504"/>
        <pc:sldMkLst>
          <pc:docMk/>
          <pc:sldMk cId="627093849" sldId="406"/>
        </pc:sldMkLst>
        <pc:spChg chg="add del mod">
          <ac:chgData name="Ischanka, Eugen" userId="e4e12248-2210-4459-89e3-acb2dd10c338" providerId="ADAL" clId="{EDBCA537-9AA3-447E-A484-FAC301ECD392}" dt="2023-12-03T10:49:54.224" v="15375" actId="478"/>
          <ac:spMkLst>
            <pc:docMk/>
            <pc:sldMk cId="627093849" sldId="406"/>
            <ac:spMk id="2" creationId="{0BC48995-CA42-61EE-7FAA-4CDCCFE8C292}"/>
          </ac:spMkLst>
        </pc:spChg>
        <pc:spChg chg="mod">
          <ac:chgData name="Ischanka, Eugen" userId="e4e12248-2210-4459-89e3-acb2dd10c338" providerId="ADAL" clId="{EDBCA537-9AA3-447E-A484-FAC301ECD392}" dt="2023-12-03T10:48:32.265" v="15359" actId="20577"/>
          <ac:spMkLst>
            <pc:docMk/>
            <pc:sldMk cId="627093849" sldId="406"/>
            <ac:spMk id="3" creationId="{A8229CC4-DA39-03D3-9A54-5BF7CC3A662C}"/>
          </ac:spMkLst>
        </pc:spChg>
        <pc:spChg chg="mod">
          <ac:chgData name="Ischanka, Eugen" userId="e4e12248-2210-4459-89e3-acb2dd10c338" providerId="ADAL" clId="{EDBCA537-9AA3-447E-A484-FAC301ECD392}" dt="2023-12-06T15:19:37.689" v="17504"/>
          <ac:spMkLst>
            <pc:docMk/>
            <pc:sldMk cId="627093849" sldId="406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EDBCA537-9AA3-447E-A484-FAC301ECD392}" dt="2023-12-03T10:48:05.193" v="15331" actId="478"/>
          <ac:spMkLst>
            <pc:docMk/>
            <pc:sldMk cId="627093849" sldId="406"/>
            <ac:spMk id="5" creationId="{DEAC4E73-0F80-D976-5A14-09B37DB99F2A}"/>
          </ac:spMkLst>
        </pc:spChg>
        <pc:spChg chg="del">
          <ac:chgData name="Ischanka, Eugen" userId="e4e12248-2210-4459-89e3-acb2dd10c338" providerId="ADAL" clId="{EDBCA537-9AA3-447E-A484-FAC301ECD392}" dt="2023-11-29T12:19:36.706" v="9563" actId="478"/>
          <ac:spMkLst>
            <pc:docMk/>
            <pc:sldMk cId="627093849" sldId="406"/>
            <ac:spMk id="6" creationId="{23054580-5DD8-EFCA-FBE1-5F62A64F6A36}"/>
          </ac:spMkLst>
        </pc:spChg>
        <pc:spChg chg="del">
          <ac:chgData name="Ischanka, Eugen" userId="e4e12248-2210-4459-89e3-acb2dd10c338" providerId="ADAL" clId="{EDBCA537-9AA3-447E-A484-FAC301ECD392}" dt="2023-12-03T10:48:51.773" v="15363" actId="478"/>
          <ac:spMkLst>
            <pc:docMk/>
            <pc:sldMk cId="627093849" sldId="406"/>
            <ac:spMk id="7" creationId="{42675031-8519-DB77-6A6E-EA1BFF58CFFA}"/>
          </ac:spMkLst>
        </pc:spChg>
        <pc:spChg chg="del mod">
          <ac:chgData name="Ischanka, Eugen" userId="e4e12248-2210-4459-89e3-acb2dd10c338" providerId="ADAL" clId="{EDBCA537-9AA3-447E-A484-FAC301ECD392}" dt="2023-12-03T10:58:54.483" v="15544" actId="478"/>
          <ac:spMkLst>
            <pc:docMk/>
            <pc:sldMk cId="627093849" sldId="406"/>
            <ac:spMk id="10" creationId="{026E4F25-DC3B-F9BC-C487-359382D2D60C}"/>
          </ac:spMkLst>
        </pc:spChg>
        <pc:spChg chg="add mod">
          <ac:chgData name="Ischanka, Eugen" userId="e4e12248-2210-4459-89e3-acb2dd10c338" providerId="ADAL" clId="{EDBCA537-9AA3-447E-A484-FAC301ECD392}" dt="2023-12-03T10:57:14.613" v="15499"/>
          <ac:spMkLst>
            <pc:docMk/>
            <pc:sldMk cId="627093849" sldId="406"/>
            <ac:spMk id="14" creationId="{43C3588B-69F8-E061-AAAE-0B0027EF3700}"/>
          </ac:spMkLst>
        </pc:spChg>
        <pc:graphicFrameChg chg="add del mod modGraphic">
          <ac:chgData name="Ischanka, Eugen" userId="e4e12248-2210-4459-89e3-acb2dd10c338" providerId="ADAL" clId="{EDBCA537-9AA3-447E-A484-FAC301ECD392}" dt="2023-12-03T10:48:46.813" v="15361" actId="478"/>
          <ac:graphicFrameMkLst>
            <pc:docMk/>
            <pc:sldMk cId="627093849" sldId="406"/>
            <ac:graphicFrameMk id="8" creationId="{C51283DA-D6CA-81D3-46E1-C0D8D4B1D812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3T10:57:51.393" v="15518" actId="6549"/>
          <ac:graphicFrameMkLst>
            <pc:docMk/>
            <pc:sldMk cId="627093849" sldId="406"/>
            <ac:graphicFrameMk id="9" creationId="{74A27068-7CF8-0E9A-5FF0-DA130878344B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3T10:49:51.753" v="15369"/>
          <ac:graphicFrameMkLst>
            <pc:docMk/>
            <pc:sldMk cId="627093849" sldId="406"/>
            <ac:graphicFrameMk id="11" creationId="{BEA89350-DE81-4AE9-B5A6-BECE1256AA62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0:54:35.877" v="15440" actId="404"/>
          <ac:graphicFrameMkLst>
            <pc:docMk/>
            <pc:sldMk cId="627093849" sldId="406"/>
            <ac:graphicFrameMk id="12" creationId="{BEA89350-DE81-4AE9-B5A6-BECE1256AA62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3T10:58:38.252" v="15543" actId="20577"/>
          <ac:graphicFrameMkLst>
            <pc:docMk/>
            <pc:sldMk cId="627093849" sldId="406"/>
            <ac:graphicFrameMk id="13" creationId="{3F8A2337-93E4-589E-6317-108FF1E63DE8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3T10:50:18.433" v="15383" actId="478"/>
          <ac:graphicFrameMkLst>
            <pc:docMk/>
            <pc:sldMk cId="627093849" sldId="406"/>
            <ac:graphicFrameMk id="15" creationId="{82EFF4A9-5500-4693-8F16-BCD1127ADA3E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0.287" v="17338"/>
          <ac:picMkLst>
            <pc:docMk/>
            <pc:sldMk cId="627093849" sldId="406"/>
            <ac:picMk id="2" creationId="{F6878008-403E-9494-857D-7A226DBD9C1C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20:00.447" v="17511"/>
        <pc:sldMkLst>
          <pc:docMk/>
          <pc:sldMk cId="875385177" sldId="407"/>
        </pc:sldMkLst>
        <pc:spChg chg="del mod">
          <ac:chgData name="Ischanka, Eugen" userId="e4e12248-2210-4459-89e3-acb2dd10c338" providerId="ADAL" clId="{EDBCA537-9AA3-447E-A484-FAC301ECD392}" dt="2023-11-29T14:37:46.843" v="11402" actId="478"/>
          <ac:spMkLst>
            <pc:docMk/>
            <pc:sldMk cId="875385177" sldId="407"/>
            <ac:spMk id="3" creationId="{78390983-499F-4D08-BCEE-B585BFBEEC85}"/>
          </ac:spMkLst>
        </pc:spChg>
        <pc:spChg chg="del mod">
          <ac:chgData name="Ischanka, Eugen" userId="e4e12248-2210-4459-89e3-acb2dd10c338" providerId="ADAL" clId="{EDBCA537-9AA3-447E-A484-FAC301ECD392}" dt="2023-12-03T11:54:06.811" v="15730" actId="478"/>
          <ac:spMkLst>
            <pc:docMk/>
            <pc:sldMk cId="875385177" sldId="407"/>
            <ac:spMk id="3" creationId="{7EE3B9DD-6E98-30DD-4A78-2E9F913D385A}"/>
          </ac:spMkLst>
        </pc:spChg>
        <pc:spChg chg="add del mod">
          <ac:chgData name="Ischanka, Eugen" userId="e4e12248-2210-4459-89e3-acb2dd10c338" providerId="ADAL" clId="{EDBCA537-9AA3-447E-A484-FAC301ECD392}" dt="2023-12-04T09:12:40.659" v="16397" actId="478"/>
          <ac:spMkLst>
            <pc:docMk/>
            <pc:sldMk cId="875385177" sldId="407"/>
            <ac:spMk id="3" creationId="{A5141223-F82B-8F64-C4C2-EDBEF0BBE92D}"/>
          </ac:spMkLst>
        </pc:spChg>
        <pc:spChg chg="mod">
          <ac:chgData name="Ischanka, Eugen" userId="e4e12248-2210-4459-89e3-acb2dd10c338" providerId="ADAL" clId="{EDBCA537-9AA3-447E-A484-FAC301ECD392}" dt="2023-12-06T15:20:00.447" v="17511"/>
          <ac:spMkLst>
            <pc:docMk/>
            <pc:sldMk cId="875385177" sldId="407"/>
            <ac:spMk id="4" creationId="{49FCFD48-E6BC-45CA-2250-8C912E261F36}"/>
          </ac:spMkLst>
        </pc:spChg>
        <pc:spChg chg="mod">
          <ac:chgData name="Ischanka, Eugen" userId="e4e12248-2210-4459-89e3-acb2dd10c338" providerId="ADAL" clId="{EDBCA537-9AA3-447E-A484-FAC301ECD392}" dt="2023-12-03T11:33:16.392" v="15615" actId="20577"/>
          <ac:spMkLst>
            <pc:docMk/>
            <pc:sldMk cId="875385177" sldId="407"/>
            <ac:spMk id="5" creationId="{ABD9D6AE-7AEF-6EE9-1361-DD48DD9B6B5C}"/>
          </ac:spMkLst>
        </pc:spChg>
        <pc:spChg chg="add del mod">
          <ac:chgData name="Ischanka, Eugen" userId="e4e12248-2210-4459-89e3-acb2dd10c338" providerId="ADAL" clId="{EDBCA537-9AA3-447E-A484-FAC301ECD392}" dt="2023-11-29T14:37:49.902" v="11403"/>
          <ac:spMkLst>
            <pc:docMk/>
            <pc:sldMk cId="875385177" sldId="407"/>
            <ac:spMk id="7" creationId="{6BEF90C6-11F9-5EC6-C5E5-6554608BBB72}"/>
          </ac:spMkLst>
        </pc:spChg>
        <pc:spChg chg="del mod">
          <ac:chgData name="Ischanka, Eugen" userId="e4e12248-2210-4459-89e3-acb2dd10c338" providerId="ADAL" clId="{EDBCA537-9AA3-447E-A484-FAC301ECD392}" dt="2023-12-03T11:54:04.351" v="15729" actId="478"/>
          <ac:spMkLst>
            <pc:docMk/>
            <pc:sldMk cId="875385177" sldId="407"/>
            <ac:spMk id="7" creationId="{DDFD389F-63DD-91E1-DC76-B7D491A9CF2B}"/>
          </ac:spMkLst>
        </pc:spChg>
        <pc:spChg chg="add mod">
          <ac:chgData name="Ischanka, Eugen" userId="e4e12248-2210-4459-89e3-acb2dd10c338" providerId="ADAL" clId="{EDBCA537-9AA3-447E-A484-FAC301ECD392}" dt="2023-11-29T14:37:49.902" v="11403"/>
          <ac:spMkLst>
            <pc:docMk/>
            <pc:sldMk cId="875385177" sldId="407"/>
            <ac:spMk id="8" creationId="{F80DA44B-BFFE-8ABF-8BBC-4DF06042150C}"/>
          </ac:spMkLst>
        </pc:spChg>
        <pc:spChg chg="add del mod">
          <ac:chgData name="Ischanka, Eugen" userId="e4e12248-2210-4459-89e3-acb2dd10c338" providerId="ADAL" clId="{EDBCA537-9AA3-447E-A484-FAC301ECD392}" dt="2023-12-03T11:53:58.371" v="15728" actId="478"/>
          <ac:spMkLst>
            <pc:docMk/>
            <pc:sldMk cId="875385177" sldId="407"/>
            <ac:spMk id="10" creationId="{7CE6E862-10E0-468E-730F-D45A652B4D23}"/>
          </ac:spMkLst>
        </pc:spChg>
        <pc:spChg chg="add del mod">
          <ac:chgData name="Ischanka, Eugen" userId="e4e12248-2210-4459-89e3-acb2dd10c338" providerId="ADAL" clId="{EDBCA537-9AA3-447E-A484-FAC301ECD392}" dt="2023-12-03T11:54:04.351" v="15729" actId="478"/>
          <ac:spMkLst>
            <pc:docMk/>
            <pc:sldMk cId="875385177" sldId="407"/>
            <ac:spMk id="12" creationId="{D1B32631-91F0-BFC9-09C1-446F3CC723DD}"/>
          </ac:spMkLst>
        </pc:spChg>
        <pc:spChg chg="add del mod">
          <ac:chgData name="Ischanka, Eugen" userId="e4e12248-2210-4459-89e3-acb2dd10c338" providerId="ADAL" clId="{EDBCA537-9AA3-447E-A484-FAC301ECD392}" dt="2023-12-03T11:54:04.351" v="15729" actId="478"/>
          <ac:spMkLst>
            <pc:docMk/>
            <pc:sldMk cId="875385177" sldId="407"/>
            <ac:spMk id="13" creationId="{8CB84F6A-DD51-D84C-3C24-D0F265C238E4}"/>
          </ac:spMkLst>
        </pc:spChg>
        <pc:spChg chg="add del mod">
          <ac:chgData name="Ischanka, Eugen" userId="e4e12248-2210-4459-89e3-acb2dd10c338" providerId="ADAL" clId="{EDBCA537-9AA3-447E-A484-FAC301ECD392}" dt="2023-12-04T06:37:04.675" v="16073" actId="478"/>
          <ac:spMkLst>
            <pc:docMk/>
            <pc:sldMk cId="875385177" sldId="407"/>
            <ac:spMk id="17" creationId="{CF728DE4-65EF-29D4-0A2A-E9FD697D6536}"/>
          </ac:spMkLst>
        </pc:spChg>
        <pc:graphicFrameChg chg="mod modGraphic">
          <ac:chgData name="Ischanka, Eugen" userId="e4e12248-2210-4459-89e3-acb2dd10c338" providerId="ADAL" clId="{EDBCA537-9AA3-447E-A484-FAC301ECD392}" dt="2023-12-03T12:27:44.015" v="15986" actId="1076"/>
          <ac:graphicFrameMkLst>
            <pc:docMk/>
            <pc:sldMk cId="875385177" sldId="407"/>
            <ac:graphicFrameMk id="2" creationId="{1421038F-4531-7F55-5248-C50D75253764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2-03T11:54:04.351" v="15729" actId="478"/>
          <ac:graphicFrameMkLst>
            <pc:docMk/>
            <pc:sldMk cId="875385177" sldId="407"/>
            <ac:graphicFrameMk id="6" creationId="{0F80C75F-C63C-B443-5FEC-A16205D328F5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2:00:11.574" v="15737" actId="478"/>
          <ac:graphicFrameMkLst>
            <pc:docMk/>
            <pc:sldMk cId="875385177" sldId="407"/>
            <ac:graphicFrameMk id="9" creationId="{8654B11A-71D3-7DED-9EAE-314DBB1012C9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09:27.118" v="11546" actId="478"/>
          <ac:graphicFrameMkLst>
            <pc:docMk/>
            <pc:sldMk cId="875385177" sldId="407"/>
            <ac:graphicFrameMk id="10" creationId="{B242FFC5-5136-DAE5-CF7B-992696E01A1D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1:54:04.351" v="15729" actId="478"/>
          <ac:graphicFrameMkLst>
            <pc:docMk/>
            <pc:sldMk cId="875385177" sldId="407"/>
            <ac:graphicFrameMk id="11" creationId="{0CC75CCB-5CF9-B190-052F-56E59F8FAC16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1:54:04.351" v="15729" actId="478"/>
          <ac:graphicFrameMkLst>
            <pc:docMk/>
            <pc:sldMk cId="875385177" sldId="407"/>
            <ac:graphicFrameMk id="14" creationId="{B192C66B-6C8D-03E7-8F5D-BF0391BE3E5B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2:24:52.634" v="15899"/>
          <ac:graphicFrameMkLst>
            <pc:docMk/>
            <pc:sldMk cId="875385177" sldId="407"/>
            <ac:graphicFrameMk id="16" creationId="{616865F0-17F3-A8D7-DE88-63F200F42D21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9.710" v="17345"/>
          <ac:picMkLst>
            <pc:docMk/>
            <pc:sldMk cId="875385177" sldId="407"/>
            <ac:picMk id="3" creationId="{8590E3CB-D221-05D5-7D72-10CD4F10EAFF}"/>
          </ac:picMkLst>
        </pc:picChg>
      </pc:sldChg>
      <pc:sldChg chg="del">
        <pc:chgData name="Ischanka, Eugen" userId="e4e12248-2210-4459-89e3-acb2dd10c338" providerId="ADAL" clId="{EDBCA537-9AA3-447E-A484-FAC301ECD392}" dt="2023-11-29T15:39:33.470" v="11691" actId="47"/>
        <pc:sldMkLst>
          <pc:docMk/>
          <pc:sldMk cId="2106664376" sldId="409"/>
        </pc:sldMkLst>
      </pc:sldChg>
      <pc:sldChg chg="new del">
        <pc:chgData name="Ischanka, Eugen" userId="e4e12248-2210-4459-89e3-acb2dd10c338" providerId="ADAL" clId="{EDBCA537-9AA3-447E-A484-FAC301ECD392}" dt="2023-11-29T08:39:07.933" v="2194" actId="47"/>
        <pc:sldMkLst>
          <pc:docMk/>
          <pc:sldMk cId="152048301" sldId="410"/>
        </pc:sldMkLst>
      </pc:sldChg>
      <pc:sldChg chg="addSp delSp modSp add mod">
        <pc:chgData name="Ischanka, Eugen" userId="e4e12248-2210-4459-89e3-acb2dd10c338" providerId="ADAL" clId="{EDBCA537-9AA3-447E-A484-FAC301ECD392}" dt="2023-12-06T15:18:54.858" v="17491"/>
        <pc:sldMkLst>
          <pc:docMk/>
          <pc:sldMk cId="595948307" sldId="410"/>
        </pc:sldMkLst>
        <pc:spChg chg="mod">
          <ac:chgData name="Ischanka, Eugen" userId="e4e12248-2210-4459-89e3-acb2dd10c338" providerId="ADAL" clId="{EDBCA537-9AA3-447E-A484-FAC301ECD392}" dt="2023-11-29T09:08:35.782" v="2771" actId="20577"/>
          <ac:spMkLst>
            <pc:docMk/>
            <pc:sldMk cId="595948307" sldId="410"/>
            <ac:spMk id="3" creationId="{BB3A3234-DC35-B007-F4DA-12C6F852E1A2}"/>
          </ac:spMkLst>
        </pc:spChg>
        <pc:spChg chg="mod">
          <ac:chgData name="Ischanka, Eugen" userId="e4e12248-2210-4459-89e3-acb2dd10c338" providerId="ADAL" clId="{EDBCA537-9AA3-447E-A484-FAC301ECD392}" dt="2023-12-06T15:18:54.858" v="17491"/>
          <ac:spMkLst>
            <pc:docMk/>
            <pc:sldMk cId="595948307" sldId="410"/>
            <ac:spMk id="4" creationId="{35B161F4-B42D-44B6-48B7-BC740B5B04D3}"/>
          </ac:spMkLst>
        </pc:spChg>
        <pc:spChg chg="mod">
          <ac:chgData name="Ischanka, Eugen" userId="e4e12248-2210-4459-89e3-acb2dd10c338" providerId="ADAL" clId="{EDBCA537-9AA3-447E-A484-FAC301ECD392}" dt="2023-11-29T09:54:54.882" v="4838" actId="1076"/>
          <ac:spMkLst>
            <pc:docMk/>
            <pc:sldMk cId="595948307" sldId="410"/>
            <ac:spMk id="8" creationId="{292D3958-1F45-B0A9-36F9-50D746C94BD5}"/>
          </ac:spMkLst>
        </pc:spChg>
        <pc:spChg chg="add del">
          <ac:chgData name="Ischanka, Eugen" userId="e4e12248-2210-4459-89e3-acb2dd10c338" providerId="ADAL" clId="{EDBCA537-9AA3-447E-A484-FAC301ECD392}" dt="2023-11-29T09:08:18.917" v="2736" actId="478"/>
          <ac:spMkLst>
            <pc:docMk/>
            <pc:sldMk cId="595948307" sldId="410"/>
            <ac:spMk id="10" creationId="{D6FCAC41-1CA4-AB7B-E247-AE8350C897C2}"/>
          </ac:spMkLst>
        </pc:spChg>
        <pc:spChg chg="mod">
          <ac:chgData name="Ischanka, Eugen" userId="e4e12248-2210-4459-89e3-acb2dd10c338" providerId="ADAL" clId="{EDBCA537-9AA3-447E-A484-FAC301ECD392}" dt="2023-11-29T09:59:50.890" v="4896" actId="1076"/>
          <ac:spMkLst>
            <pc:docMk/>
            <pc:sldMk cId="595948307" sldId="410"/>
            <ac:spMk id="11" creationId="{7DCE34C9-8EE7-7C33-2A95-29442C82D5B9}"/>
          </ac:spMkLst>
        </pc:spChg>
        <pc:spChg chg="add del mod ord">
          <ac:chgData name="Ischanka, Eugen" userId="e4e12248-2210-4459-89e3-acb2dd10c338" providerId="ADAL" clId="{EDBCA537-9AA3-447E-A484-FAC301ECD392}" dt="2023-11-29T09:28:02.066" v="4425" actId="478"/>
          <ac:spMkLst>
            <pc:docMk/>
            <pc:sldMk cId="595948307" sldId="410"/>
            <ac:spMk id="13" creationId="{DC00183E-B0FB-C7A8-C936-8A95D4A0CD70}"/>
          </ac:spMkLst>
        </pc:spChg>
        <pc:spChg chg="add del">
          <ac:chgData name="Ischanka, Eugen" userId="e4e12248-2210-4459-89e3-acb2dd10c338" providerId="ADAL" clId="{EDBCA537-9AA3-447E-A484-FAC301ECD392}" dt="2023-11-29T09:08:18.917" v="2736" actId="478"/>
          <ac:spMkLst>
            <pc:docMk/>
            <pc:sldMk cId="595948307" sldId="410"/>
            <ac:spMk id="14" creationId="{699F90F1-FECD-CC5A-96BC-9FE130A622CF}"/>
          </ac:spMkLst>
        </pc:spChg>
        <pc:spChg chg="mod">
          <ac:chgData name="Ischanka, Eugen" userId="e4e12248-2210-4459-89e3-acb2dd10c338" providerId="ADAL" clId="{EDBCA537-9AA3-447E-A484-FAC301ECD392}" dt="2023-11-29T09:56:29.167" v="4860" actId="14100"/>
          <ac:spMkLst>
            <pc:docMk/>
            <pc:sldMk cId="595948307" sldId="410"/>
            <ac:spMk id="15" creationId="{E87A7251-7A7E-86E6-8E05-47064CC4071D}"/>
          </ac:spMkLst>
        </pc:spChg>
        <pc:spChg chg="add mod">
          <ac:chgData name="Ischanka, Eugen" userId="e4e12248-2210-4459-89e3-acb2dd10c338" providerId="ADAL" clId="{EDBCA537-9AA3-447E-A484-FAC301ECD392}" dt="2023-11-29T09:29:44.777" v="4444" actId="14100"/>
          <ac:spMkLst>
            <pc:docMk/>
            <pc:sldMk cId="595948307" sldId="410"/>
            <ac:spMk id="16" creationId="{2F2E6819-63B8-9C78-55A9-8BD1627BAA00}"/>
          </ac:spMkLst>
        </pc:spChg>
        <pc:spChg chg="add del mod">
          <ac:chgData name="Ischanka, Eugen" userId="e4e12248-2210-4459-89e3-acb2dd10c338" providerId="ADAL" clId="{EDBCA537-9AA3-447E-A484-FAC301ECD392}" dt="2023-11-29T09:55:39.497" v="4853" actId="478"/>
          <ac:spMkLst>
            <pc:docMk/>
            <pc:sldMk cId="595948307" sldId="410"/>
            <ac:spMk id="18" creationId="{0ED2899F-CC78-C251-E935-8363E88B6E4A}"/>
          </ac:spMkLst>
        </pc:spChg>
        <pc:spChg chg="add mod">
          <ac:chgData name="Ischanka, Eugen" userId="e4e12248-2210-4459-89e3-acb2dd10c338" providerId="ADAL" clId="{EDBCA537-9AA3-447E-A484-FAC301ECD392}" dt="2023-11-29T10:10:49.468" v="4925" actId="20577"/>
          <ac:spMkLst>
            <pc:docMk/>
            <pc:sldMk cId="595948307" sldId="410"/>
            <ac:spMk id="21" creationId="{FD688500-14D1-7916-9C13-2EA6B58CD464}"/>
          </ac:spMkLst>
        </pc:spChg>
        <pc:graphicFrameChg chg="add mod modGraphic">
          <ac:chgData name="Ischanka, Eugen" userId="e4e12248-2210-4459-89e3-acb2dd10c338" providerId="ADAL" clId="{EDBCA537-9AA3-447E-A484-FAC301ECD392}" dt="2023-12-03T09:59:51.827" v="14928" actId="13926"/>
          <ac:graphicFrameMkLst>
            <pc:docMk/>
            <pc:sldMk cId="595948307" sldId="410"/>
            <ac:graphicFrameMk id="2" creationId="{1F2A7AEE-019B-9549-3A04-6E4134957B3B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1-29T09:30:32.122" v="4448" actId="478"/>
          <ac:graphicFrameMkLst>
            <pc:docMk/>
            <pc:sldMk cId="595948307" sldId="410"/>
            <ac:graphicFrameMk id="5" creationId="{92F84B60-D3C0-F818-07B3-7184D3C5D84A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1-29T09:27:03.532" v="4422" actId="478"/>
          <ac:graphicFrameMkLst>
            <pc:docMk/>
            <pc:sldMk cId="595948307" sldId="410"/>
            <ac:graphicFrameMk id="6" creationId="{126E82FA-F4E4-EE54-FFBC-4796089EA515}"/>
          </ac:graphicFrameMkLst>
        </pc:graphicFrameChg>
        <pc:graphicFrameChg chg="add del">
          <ac:chgData name="Ischanka, Eugen" userId="e4e12248-2210-4459-89e3-acb2dd10c338" providerId="ADAL" clId="{EDBCA537-9AA3-447E-A484-FAC301ECD392}" dt="2023-11-29T09:08:18.917" v="2736" actId="478"/>
          <ac:graphicFrameMkLst>
            <pc:docMk/>
            <pc:sldMk cId="595948307" sldId="410"/>
            <ac:graphicFrameMk id="7" creationId="{0F47833B-2F42-456D-13D8-F9B74283D9F2}"/>
          </ac:graphicFrameMkLst>
        </pc:graphicFrameChg>
        <pc:graphicFrameChg chg="add del">
          <ac:chgData name="Ischanka, Eugen" userId="e4e12248-2210-4459-89e3-acb2dd10c338" providerId="ADAL" clId="{EDBCA537-9AA3-447E-A484-FAC301ECD392}" dt="2023-11-29T09:08:18.917" v="2736" actId="478"/>
          <ac:graphicFrameMkLst>
            <pc:docMk/>
            <pc:sldMk cId="595948307" sldId="410"/>
            <ac:graphicFrameMk id="9" creationId="{5AD5AD8A-3D17-48F1-A08D-BEABCE5B11FE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09:59:17.509" v="4890" actId="2165"/>
          <ac:graphicFrameMkLst>
            <pc:docMk/>
            <pc:sldMk cId="595948307" sldId="410"/>
            <ac:graphicFrameMk id="17" creationId="{1C7E7A73-B42F-EF5B-D192-6A07D45F1DD6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10:00:51.185" v="4901" actId="1076"/>
          <ac:graphicFrameMkLst>
            <pc:docMk/>
            <pc:sldMk cId="595948307" sldId="410"/>
            <ac:graphicFrameMk id="19" creationId="{D9C82461-9788-A391-340B-3B497D826800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09:57:22.650" v="4872"/>
          <ac:graphicFrameMkLst>
            <pc:docMk/>
            <pc:sldMk cId="595948307" sldId="410"/>
            <ac:graphicFrameMk id="22" creationId="{725825C6-E528-5910-CA41-4C5D819DB678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09:59:38.217" v="4893" actId="1076"/>
          <ac:graphicFrameMkLst>
            <pc:docMk/>
            <pc:sldMk cId="595948307" sldId="410"/>
            <ac:graphicFrameMk id="28" creationId="{6258F243-D23C-376E-54A6-4E3AF8787F09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9.481" v="17308"/>
          <ac:picMkLst>
            <pc:docMk/>
            <pc:sldMk cId="595948307" sldId="410"/>
            <ac:picMk id="5" creationId="{18F03BB2-5130-7A03-6823-7105789A219B}"/>
          </ac:picMkLst>
        </pc:picChg>
        <pc:cxnChg chg="add mod">
          <ac:chgData name="Ischanka, Eugen" userId="e4e12248-2210-4459-89e3-acb2dd10c338" providerId="ADAL" clId="{EDBCA537-9AA3-447E-A484-FAC301ECD392}" dt="2023-11-29T09:58:28.459" v="4884" actId="14100"/>
          <ac:cxnSpMkLst>
            <pc:docMk/>
            <pc:sldMk cId="595948307" sldId="410"/>
            <ac:cxnSpMk id="23" creationId="{0B5946CD-60C1-C2B8-C159-705E65A7DCEB}"/>
          </ac:cxnSpMkLst>
        </pc:cxnChg>
        <pc:cxnChg chg="add mod">
          <ac:chgData name="Ischanka, Eugen" userId="e4e12248-2210-4459-89e3-acb2dd10c338" providerId="ADAL" clId="{EDBCA537-9AA3-447E-A484-FAC301ECD392}" dt="2023-11-29T09:58:35.818" v="4886" actId="1076"/>
          <ac:cxnSpMkLst>
            <pc:docMk/>
            <pc:sldMk cId="595948307" sldId="410"/>
            <ac:cxnSpMk id="27" creationId="{79A3C97F-6D1E-83AC-47F8-613810ED03FE}"/>
          </ac:cxnSpMkLst>
        </pc:cxnChg>
      </pc:sldChg>
      <pc:sldChg chg="addSp delSp modSp add mod">
        <pc:chgData name="Ischanka, Eugen" userId="e4e12248-2210-4459-89e3-acb2dd10c338" providerId="ADAL" clId="{EDBCA537-9AA3-447E-A484-FAC301ECD392}" dt="2023-12-06T15:19:02.457" v="17494"/>
        <pc:sldMkLst>
          <pc:docMk/>
          <pc:sldMk cId="3469313811" sldId="411"/>
        </pc:sldMkLst>
        <pc:spChg chg="mod">
          <ac:chgData name="Ischanka, Eugen" userId="e4e12248-2210-4459-89e3-acb2dd10c338" providerId="ADAL" clId="{EDBCA537-9AA3-447E-A484-FAC301ECD392}" dt="2023-12-06T15:19:02.457" v="17494"/>
          <ac:spMkLst>
            <pc:docMk/>
            <pc:sldMk cId="3469313811" sldId="411"/>
            <ac:spMk id="4" creationId="{866B36A7-9FEC-C98E-A833-4C28AC6FE691}"/>
          </ac:spMkLst>
        </pc:spChg>
        <pc:spChg chg="del">
          <ac:chgData name="Ischanka, Eugen" userId="e4e12248-2210-4459-89e3-acb2dd10c338" providerId="ADAL" clId="{EDBCA537-9AA3-447E-A484-FAC301ECD392}" dt="2023-11-29T10:42:21.109" v="6620" actId="478"/>
          <ac:spMkLst>
            <pc:docMk/>
            <pc:sldMk cId="3469313811" sldId="411"/>
            <ac:spMk id="13" creationId="{881E85D8-1C89-67D7-A81A-33EBCC439BD9}"/>
          </ac:spMkLst>
        </pc:spChg>
        <pc:spChg chg="del">
          <ac:chgData name="Ischanka, Eugen" userId="e4e12248-2210-4459-89e3-acb2dd10c338" providerId="ADAL" clId="{EDBCA537-9AA3-447E-A484-FAC301ECD392}" dt="2023-11-29T10:42:21.109" v="6620" actId="478"/>
          <ac:spMkLst>
            <pc:docMk/>
            <pc:sldMk cId="3469313811" sldId="411"/>
            <ac:spMk id="15" creationId="{21CB93CD-13F6-688B-F382-0AFEC36E71CB}"/>
          </ac:spMkLst>
        </pc:spChg>
        <pc:spChg chg="mod">
          <ac:chgData name="Ischanka, Eugen" userId="e4e12248-2210-4459-89e3-acb2dd10c338" providerId="ADAL" clId="{EDBCA537-9AA3-447E-A484-FAC301ECD392}" dt="2023-11-29T10:45:04.883" v="7049" actId="1076"/>
          <ac:spMkLst>
            <pc:docMk/>
            <pc:sldMk cId="3469313811" sldId="411"/>
            <ac:spMk id="18" creationId="{80AC54C9-A6F5-8C33-7E3D-96004D0EFEE6}"/>
          </ac:spMkLst>
        </pc:spChg>
        <pc:spChg chg="mod">
          <ac:chgData name="Ischanka, Eugen" userId="e4e12248-2210-4459-89e3-acb2dd10c338" providerId="ADAL" clId="{EDBCA537-9AA3-447E-A484-FAC301ECD392}" dt="2023-11-29T10:44:49.550" v="7044" actId="1076"/>
          <ac:spMkLst>
            <pc:docMk/>
            <pc:sldMk cId="3469313811" sldId="411"/>
            <ac:spMk id="19" creationId="{6E9200C9-485F-9D38-1EBC-1B496B53E159}"/>
          </ac:spMkLst>
        </pc:spChg>
        <pc:spChg chg="mod">
          <ac:chgData name="Ischanka, Eugen" userId="e4e12248-2210-4459-89e3-acb2dd10c338" providerId="ADAL" clId="{EDBCA537-9AA3-447E-A484-FAC301ECD392}" dt="2023-11-29T10:44:46.773" v="7043" actId="1076"/>
          <ac:spMkLst>
            <pc:docMk/>
            <pc:sldMk cId="3469313811" sldId="411"/>
            <ac:spMk id="20" creationId="{FB0A2DB0-8933-E31B-48D3-D36A83BD97A7}"/>
          </ac:spMkLst>
        </pc:spChg>
        <pc:graphicFrameChg chg="del">
          <ac:chgData name="Ischanka, Eugen" userId="e4e12248-2210-4459-89e3-acb2dd10c338" providerId="ADAL" clId="{EDBCA537-9AA3-447E-A484-FAC301ECD392}" dt="2023-11-29T10:42:21.109" v="6620" actId="478"/>
          <ac:graphicFrameMkLst>
            <pc:docMk/>
            <pc:sldMk cId="3469313811" sldId="411"/>
            <ac:graphicFrameMk id="7" creationId="{2721710C-2549-5EBD-2C2E-42FD37F624B9}"/>
          </ac:graphicFrameMkLst>
        </pc:graphicFrameChg>
        <pc:graphicFrameChg chg="del">
          <ac:chgData name="Ischanka, Eugen" userId="e4e12248-2210-4459-89e3-acb2dd10c338" providerId="ADAL" clId="{EDBCA537-9AA3-447E-A484-FAC301ECD392}" dt="2023-11-29T10:42:21.109" v="6620" actId="478"/>
          <ac:graphicFrameMkLst>
            <pc:docMk/>
            <pc:sldMk cId="3469313811" sldId="411"/>
            <ac:graphicFrameMk id="12" creationId="{0CB00D42-42A9-9EAE-BECE-944D20913F1F}"/>
          </ac:graphicFrameMkLst>
        </pc:graphicFrameChg>
        <pc:graphicFrameChg chg="del">
          <ac:chgData name="Ischanka, Eugen" userId="e4e12248-2210-4459-89e3-acb2dd10c338" providerId="ADAL" clId="{EDBCA537-9AA3-447E-A484-FAC301ECD392}" dt="2023-11-29T10:42:21.109" v="6620" actId="478"/>
          <ac:graphicFrameMkLst>
            <pc:docMk/>
            <pc:sldMk cId="3469313811" sldId="411"/>
            <ac:graphicFrameMk id="14" creationId="{A25A10E0-A538-1F56-1B76-53DC1C86844C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10:45:02.324" v="7048" actId="1076"/>
          <ac:graphicFrameMkLst>
            <pc:docMk/>
            <pc:sldMk cId="3469313811" sldId="411"/>
            <ac:graphicFrameMk id="17" creationId="{2AC2DFBD-BF4B-D190-3524-D40F407875C1}"/>
          </ac:graphicFrameMkLst>
        </pc:graphicFrameChg>
        <pc:picChg chg="add mod">
          <ac:chgData name="Ischanka, Eugen" userId="e4e12248-2210-4459-89e3-acb2dd10c338" providerId="ADAL" clId="{EDBCA537-9AA3-447E-A484-FAC301ECD392}" dt="2023-12-06T15:09:45.574" v="17328"/>
          <ac:picMkLst>
            <pc:docMk/>
            <pc:sldMk cId="3469313811" sldId="411"/>
            <ac:picMk id="2" creationId="{DFC077AA-A03B-8F34-DA42-A48AC4E7B01F}"/>
          </ac:picMkLst>
        </pc:picChg>
      </pc:sldChg>
      <pc:sldChg chg="add del">
        <pc:chgData name="Ischanka, Eugen" userId="e4e12248-2210-4459-89e3-acb2dd10c338" providerId="ADAL" clId="{EDBCA537-9AA3-447E-A484-FAC301ECD392}" dt="2023-11-29T14:04:20.295" v="11144" actId="47"/>
        <pc:sldMkLst>
          <pc:docMk/>
          <pc:sldMk cId="1435658979" sldId="412"/>
        </pc:sldMkLst>
      </pc:sldChg>
      <pc:sldChg chg="addSp delSp modSp add mod chgLayout">
        <pc:chgData name="Ischanka, Eugen" userId="e4e12248-2210-4459-89e3-acb2dd10c338" providerId="ADAL" clId="{EDBCA537-9AA3-447E-A484-FAC301ECD392}" dt="2023-12-06T15:20:03.376" v="17512"/>
        <pc:sldMkLst>
          <pc:docMk/>
          <pc:sldMk cId="1898835580" sldId="412"/>
        </pc:sldMkLst>
        <pc:spChg chg="del">
          <ac:chgData name="Ischanka, Eugen" userId="e4e12248-2210-4459-89e3-acb2dd10c338" providerId="ADAL" clId="{EDBCA537-9AA3-447E-A484-FAC301ECD392}" dt="2023-12-03T12:10:59.422" v="15881" actId="478"/>
          <ac:spMkLst>
            <pc:docMk/>
            <pc:sldMk cId="1898835580" sldId="412"/>
            <ac:spMk id="2" creationId="{21C33110-BAFC-635F-1A1A-72B88595B8CC}"/>
          </ac:spMkLst>
        </pc:spChg>
        <pc:spChg chg="add del mod">
          <ac:chgData name="Ischanka, Eugen" userId="e4e12248-2210-4459-89e3-acb2dd10c338" providerId="ADAL" clId="{EDBCA537-9AA3-447E-A484-FAC301ECD392}" dt="2023-12-03T12:10:58.881" v="15880" actId="478"/>
          <ac:spMkLst>
            <pc:docMk/>
            <pc:sldMk cId="1898835580" sldId="412"/>
            <ac:spMk id="3" creationId="{3A5EC728-7BAE-4BC9-C728-33EDEE0B7F0E}"/>
          </ac:spMkLst>
        </pc:spChg>
        <pc:spChg chg="mod ord">
          <ac:chgData name="Ischanka, Eugen" userId="e4e12248-2210-4459-89e3-acb2dd10c338" providerId="ADAL" clId="{EDBCA537-9AA3-447E-A484-FAC301ECD392}" dt="2023-12-06T15:20:03.376" v="17512"/>
          <ac:spMkLst>
            <pc:docMk/>
            <pc:sldMk cId="1898835580" sldId="412"/>
            <ac:spMk id="4" creationId="{49FCFD48-E6BC-45CA-2250-8C912E261F36}"/>
          </ac:spMkLst>
        </pc:spChg>
        <pc:spChg chg="mod">
          <ac:chgData name="Ischanka, Eugen" userId="e4e12248-2210-4459-89e3-acb2dd10c338" providerId="ADAL" clId="{EDBCA537-9AA3-447E-A484-FAC301ECD392}" dt="2023-12-03T12:25:48.540" v="15910" actId="207"/>
          <ac:spMkLst>
            <pc:docMk/>
            <pc:sldMk cId="1898835580" sldId="412"/>
            <ac:spMk id="5" creationId="{ABD9D6AE-7AEF-6EE9-1361-DD48DD9B6B5C}"/>
          </ac:spMkLst>
        </pc:spChg>
        <pc:spChg chg="add del mod">
          <ac:chgData name="Ischanka, Eugen" userId="e4e12248-2210-4459-89e3-acb2dd10c338" providerId="ADAL" clId="{EDBCA537-9AA3-447E-A484-FAC301ECD392}" dt="2023-12-04T09:14:09.917" v="16402"/>
          <ac:spMkLst>
            <pc:docMk/>
            <pc:sldMk cId="1898835580" sldId="412"/>
            <ac:spMk id="6" creationId="{24FBF784-4D3F-BE5A-EB11-A33499BCE33A}"/>
          </ac:spMkLst>
        </pc:spChg>
        <pc:spChg chg="add del mod ord">
          <ac:chgData name="Ischanka, Eugen" userId="e4e12248-2210-4459-89e3-acb2dd10c338" providerId="ADAL" clId="{EDBCA537-9AA3-447E-A484-FAC301ECD392}" dt="2023-11-29T15:38:22.372" v="11684"/>
          <ac:spMkLst>
            <pc:docMk/>
            <pc:sldMk cId="1898835580" sldId="412"/>
            <ac:spMk id="7" creationId="{172E5A40-E3CD-30D7-146E-04408D08B3AC}"/>
          </ac:spMkLst>
        </pc:spChg>
        <pc:spChg chg="mod ord">
          <ac:chgData name="Ischanka, Eugen" userId="e4e12248-2210-4459-89e3-acb2dd10c338" providerId="ADAL" clId="{EDBCA537-9AA3-447E-A484-FAC301ECD392}" dt="2023-11-29T15:38:17.310" v="11683" actId="700"/>
          <ac:spMkLst>
            <pc:docMk/>
            <pc:sldMk cId="1898835580" sldId="412"/>
            <ac:spMk id="8" creationId="{F80DA44B-BFFE-8ABF-8BBC-4DF06042150C}"/>
          </ac:spMkLst>
        </pc:spChg>
        <pc:spChg chg="add del mod">
          <ac:chgData name="Ischanka, Eugen" userId="e4e12248-2210-4459-89e3-acb2dd10c338" providerId="ADAL" clId="{EDBCA537-9AA3-447E-A484-FAC301ECD392}" dt="2023-12-03T12:21:27.461" v="15884"/>
          <ac:spMkLst>
            <pc:docMk/>
            <pc:sldMk cId="1898835580" sldId="412"/>
            <ac:spMk id="9" creationId="{6C441F2E-76F2-37E5-B80C-B379540DE749}"/>
          </ac:spMkLst>
        </pc:spChg>
        <pc:spChg chg="add del mod">
          <ac:chgData name="Ischanka, Eugen" userId="e4e12248-2210-4459-89e3-acb2dd10c338" providerId="ADAL" clId="{EDBCA537-9AA3-447E-A484-FAC301ECD392}" dt="2023-12-04T09:12:49.803" v="16399" actId="478"/>
          <ac:spMkLst>
            <pc:docMk/>
            <pc:sldMk cId="1898835580" sldId="412"/>
            <ac:spMk id="13" creationId="{DB28F1C4-1F29-9574-F9DB-CBB0317ED28D}"/>
          </ac:spMkLst>
        </pc:spChg>
        <pc:graphicFrameChg chg="del mod">
          <ac:chgData name="Ischanka, Eugen" userId="e4e12248-2210-4459-89e3-acb2dd10c338" providerId="ADAL" clId="{EDBCA537-9AA3-447E-A484-FAC301ECD392}" dt="2023-11-29T15:39:11.136" v="11689" actId="478"/>
          <ac:graphicFrameMkLst>
            <pc:docMk/>
            <pc:sldMk cId="1898835580" sldId="412"/>
            <ac:graphicFrameMk id="2" creationId="{1421038F-4531-7F55-5248-C50D75253764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13:13.527" v="11668" actId="478"/>
          <ac:graphicFrameMkLst>
            <pc:docMk/>
            <pc:sldMk cId="1898835580" sldId="412"/>
            <ac:graphicFrameMk id="3" creationId="{0F60A9FD-39B4-33DF-ADC7-BFDE789BEFBA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38:14.691" v="11682" actId="478"/>
          <ac:graphicFrameMkLst>
            <pc:docMk/>
            <pc:sldMk cId="1898835580" sldId="412"/>
            <ac:graphicFrameMk id="6" creationId="{F75FB6A0-CD1E-408F-B5F5-D3DDD06FA479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4T09:16:21.972" v="16417" actId="167"/>
          <ac:graphicFrameMkLst>
            <pc:docMk/>
            <pc:sldMk cId="1898835580" sldId="412"/>
            <ac:graphicFrameMk id="7" creationId="{F75FB6A0-CD1E-408F-B5F5-D3DDD06FA479}"/>
          </ac:graphicFrameMkLst>
        </pc:graphicFrameChg>
        <pc:graphicFrameChg chg="del mod">
          <ac:chgData name="Ischanka, Eugen" userId="e4e12248-2210-4459-89e3-acb2dd10c338" providerId="ADAL" clId="{EDBCA537-9AA3-447E-A484-FAC301ECD392}" dt="2023-11-29T15:13:46.036" v="11671" actId="478"/>
          <ac:graphicFrameMkLst>
            <pc:docMk/>
            <pc:sldMk cId="1898835580" sldId="412"/>
            <ac:graphicFrameMk id="9" creationId="{8654B11A-71D3-7DED-9EAE-314DBB1012C9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2:11:07.373" v="15883" actId="478"/>
          <ac:graphicFrameMkLst>
            <pc:docMk/>
            <pc:sldMk cId="1898835580" sldId="412"/>
            <ac:graphicFrameMk id="10" creationId="{F75FB6A0-CD1E-408F-B5F5-D3DDD06FA479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50:08.179" v="11798" actId="478"/>
          <ac:graphicFrameMkLst>
            <pc:docMk/>
            <pc:sldMk cId="1898835580" sldId="412"/>
            <ac:graphicFrameMk id="11" creationId="{29915FCF-373F-49B1-2A8A-B32980C46AA8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4T09:14:08.314" v="16401" actId="478"/>
          <ac:graphicFrameMkLst>
            <pc:docMk/>
            <pc:sldMk cId="1898835580" sldId="412"/>
            <ac:graphicFrameMk id="11" creationId="{F75FB6A0-CD1E-408F-B5F5-D3DDD06FA479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4T09:21:13.851" v="16506" actId="113"/>
          <ac:graphicFrameMkLst>
            <pc:docMk/>
            <pc:sldMk cId="1898835580" sldId="412"/>
            <ac:graphicFrameMk id="12" creationId="{FF001CF4-DB34-BAD7-9196-470092AF1447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49:07.250" v="11780" actId="478"/>
          <ac:graphicFrameMkLst>
            <pc:docMk/>
            <pc:sldMk cId="1898835580" sldId="412"/>
            <ac:graphicFrameMk id="13" creationId="{1E787AFB-A5AB-D1CB-5971-D02C5EEA71A0}"/>
          </ac:graphicFrameMkLst>
        </pc:graphicFrameChg>
        <pc:picChg chg="add mod">
          <ac:chgData name="Ischanka, Eugen" userId="e4e12248-2210-4459-89e3-acb2dd10c338" providerId="ADAL" clId="{EDBCA537-9AA3-447E-A484-FAC301ECD392}" dt="2023-12-06T15:10:10.998" v="17346"/>
          <ac:picMkLst>
            <pc:docMk/>
            <pc:sldMk cId="1898835580" sldId="412"/>
            <ac:picMk id="2" creationId="{DCC528F9-BA83-F443-F4B1-C781799ED88B}"/>
          </ac:picMkLst>
        </pc:picChg>
      </pc:sldChg>
      <pc:sldChg chg="add del">
        <pc:chgData name="Ischanka, Eugen" userId="e4e12248-2210-4459-89e3-acb2dd10c338" providerId="ADAL" clId="{EDBCA537-9AA3-447E-A484-FAC301ECD392}" dt="2023-11-29T14:34:01.813" v="11361" actId="47"/>
        <pc:sldMkLst>
          <pc:docMk/>
          <pc:sldMk cId="2680749204" sldId="412"/>
        </pc:sldMkLst>
      </pc:sldChg>
      <pc:sldChg chg="add del">
        <pc:chgData name="Ischanka, Eugen" userId="e4e12248-2210-4459-89e3-acb2dd10c338" providerId="ADAL" clId="{EDBCA537-9AA3-447E-A484-FAC301ECD392}" dt="2023-11-29T13:36:49.727" v="10912" actId="47"/>
        <pc:sldMkLst>
          <pc:docMk/>
          <pc:sldMk cId="3061604985" sldId="412"/>
        </pc:sldMkLst>
      </pc:sldChg>
      <pc:sldChg chg="addSp delSp modSp add mod">
        <pc:chgData name="Ischanka, Eugen" userId="e4e12248-2210-4459-89e3-acb2dd10c338" providerId="ADAL" clId="{EDBCA537-9AA3-447E-A484-FAC301ECD392}" dt="2023-12-06T15:18:31.763" v="17483"/>
        <pc:sldMkLst>
          <pc:docMk/>
          <pc:sldMk cId="1738591175" sldId="413"/>
        </pc:sldMkLst>
        <pc:spChg chg="mod">
          <ac:chgData name="Ischanka, Eugen" userId="e4e12248-2210-4459-89e3-acb2dd10c338" providerId="ADAL" clId="{EDBCA537-9AA3-447E-A484-FAC301ECD392}" dt="2023-12-06T15:18:31.763" v="17483"/>
          <ac:spMkLst>
            <pc:docMk/>
            <pc:sldMk cId="1738591175" sldId="413"/>
            <ac:spMk id="4" creationId="{DED00CC6-8D9C-7A04-AAB0-4059A456F19B}"/>
          </ac:spMkLst>
        </pc:spChg>
        <pc:spChg chg="del">
          <ac:chgData name="Ischanka, Eugen" userId="e4e12248-2210-4459-89e3-acb2dd10c338" providerId="ADAL" clId="{EDBCA537-9AA3-447E-A484-FAC301ECD392}" dt="2023-12-01T12:15:08.359" v="13307" actId="478"/>
          <ac:spMkLst>
            <pc:docMk/>
            <pc:sldMk cId="1738591175" sldId="413"/>
            <ac:spMk id="5" creationId="{34CC6CBB-D6E7-851C-B2D8-D79A101EF67E}"/>
          </ac:spMkLst>
        </pc:spChg>
        <pc:spChg chg="add del mod">
          <ac:chgData name="Ischanka, Eugen" userId="e4e12248-2210-4459-89e3-acb2dd10c338" providerId="ADAL" clId="{EDBCA537-9AA3-447E-A484-FAC301ECD392}" dt="2023-12-01T12:15:18.149" v="13309"/>
          <ac:spMkLst>
            <pc:docMk/>
            <pc:sldMk cId="1738591175" sldId="413"/>
            <ac:spMk id="7" creationId="{469974DC-D303-67CB-3FB0-EA5D19994CA7}"/>
          </ac:spMkLst>
        </pc:spChg>
        <pc:spChg chg="add del mod">
          <ac:chgData name="Ischanka, Eugen" userId="e4e12248-2210-4459-89e3-acb2dd10c338" providerId="ADAL" clId="{EDBCA537-9AA3-447E-A484-FAC301ECD392}" dt="2023-12-01T12:15:48.629" v="13312"/>
          <ac:spMkLst>
            <pc:docMk/>
            <pc:sldMk cId="1738591175" sldId="413"/>
            <ac:spMk id="10" creationId="{997E30D2-782F-2737-F05E-DB26F2D39F81}"/>
          </ac:spMkLst>
        </pc:spChg>
        <pc:graphicFrameChg chg="add del mod">
          <ac:chgData name="Ischanka, Eugen" userId="e4e12248-2210-4459-89e3-acb2dd10c338" providerId="ADAL" clId="{EDBCA537-9AA3-447E-A484-FAC301ECD392}" dt="2023-12-01T12:15:42.258" v="13311" actId="478"/>
          <ac:graphicFrameMkLst>
            <pc:docMk/>
            <pc:sldMk cId="1738591175" sldId="413"/>
            <ac:graphicFrameMk id="8" creationId="{C9634AE4-4993-E7E5-3F6D-7A926BEC9721}"/>
          </ac:graphicFrameMkLst>
        </pc:graphicFrameChg>
        <pc:graphicFrameChg chg="del">
          <ac:chgData name="Ischanka, Eugen" userId="e4e12248-2210-4459-89e3-acb2dd10c338" providerId="ADAL" clId="{EDBCA537-9AA3-447E-A484-FAC301ECD392}" dt="2023-12-01T12:15:10.600" v="13308" actId="478"/>
          <ac:graphicFrameMkLst>
            <pc:docMk/>
            <pc:sldMk cId="1738591175" sldId="413"/>
            <ac:graphicFrameMk id="11" creationId="{C9634AE4-4993-E7E5-3F6D-7A926BEC9721}"/>
          </ac:graphicFrameMkLst>
        </pc:graphicFrameChg>
        <pc:graphicFrameChg chg="add mod ord modGraphic">
          <ac:chgData name="Ischanka, Eugen" userId="e4e12248-2210-4459-89e3-acb2dd10c338" providerId="ADAL" clId="{EDBCA537-9AA3-447E-A484-FAC301ECD392}" dt="2023-12-01T12:21:03.998" v="13355" actId="167"/>
          <ac:graphicFrameMkLst>
            <pc:docMk/>
            <pc:sldMk cId="1738591175" sldId="413"/>
            <ac:graphicFrameMk id="12" creationId="{C9634AE4-4993-E7E5-3F6D-7A926BEC9721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1T12:26:04.431" v="13372" actId="122"/>
          <ac:graphicFrameMkLst>
            <pc:docMk/>
            <pc:sldMk cId="1738591175" sldId="413"/>
            <ac:graphicFrameMk id="13" creationId="{3792B66D-23FE-0471-5360-F21FB5836338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2-01T12:26:21.384" v="13373" actId="478"/>
          <ac:graphicFrameMkLst>
            <pc:docMk/>
            <pc:sldMk cId="1738591175" sldId="413"/>
            <ac:graphicFrameMk id="14" creationId="{3C2312CB-C6C8-5E1C-64A3-DB176D86A4F7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4.984" v="17300"/>
          <ac:picMkLst>
            <pc:docMk/>
            <pc:sldMk cId="1738591175" sldId="413"/>
            <ac:picMk id="5" creationId="{8A6367D7-991C-E100-1568-7C6FB242B644}"/>
          </ac:picMkLst>
        </pc:picChg>
      </pc:sldChg>
      <pc:sldChg chg="add del">
        <pc:chgData name="Ischanka, Eugen" userId="e4e12248-2210-4459-89e3-acb2dd10c338" providerId="ADAL" clId="{EDBCA537-9AA3-447E-A484-FAC301ECD392}" dt="2023-11-29T15:38:38.053" v="11686" actId="47"/>
        <pc:sldMkLst>
          <pc:docMk/>
          <pc:sldMk cId="2513884927" sldId="413"/>
        </pc:sldMkLst>
      </pc:sldChg>
      <pc:sldChg chg="add del">
        <pc:chgData name="Ischanka, Eugen" userId="e4e12248-2210-4459-89e3-acb2dd10c338" providerId="ADAL" clId="{EDBCA537-9AA3-447E-A484-FAC301ECD392}" dt="2023-12-01T14:03:38.511" v="13733" actId="47"/>
        <pc:sldMkLst>
          <pc:docMk/>
          <pc:sldMk cId="2434163671" sldId="414"/>
        </pc:sldMkLst>
      </pc:sldChg>
      <pc:sldChg chg="addSp delSp modSp add mod">
        <pc:chgData name="Ischanka, Eugen" userId="e4e12248-2210-4459-89e3-acb2dd10c338" providerId="ADAL" clId="{EDBCA537-9AA3-447E-A484-FAC301ECD392}" dt="2023-12-06T15:18:46.375" v="17488"/>
        <pc:sldMkLst>
          <pc:docMk/>
          <pc:sldMk cId="3623294175" sldId="414"/>
        </pc:sldMkLst>
        <pc:spChg chg="add mod">
          <ac:chgData name="Ischanka, Eugen" userId="e4e12248-2210-4459-89e3-acb2dd10c338" providerId="ADAL" clId="{EDBCA537-9AA3-447E-A484-FAC301ECD392}" dt="2023-12-03T09:53:27.984" v="14874" actId="20577"/>
          <ac:spMkLst>
            <pc:docMk/>
            <pc:sldMk cId="3623294175" sldId="414"/>
            <ac:spMk id="2" creationId="{BA7425B9-FB88-B74A-8545-F744E56FA9B8}"/>
          </ac:spMkLst>
        </pc:spChg>
        <pc:spChg chg="mod">
          <ac:chgData name="Ischanka, Eugen" userId="e4e12248-2210-4459-89e3-acb2dd10c338" providerId="ADAL" clId="{EDBCA537-9AA3-447E-A484-FAC301ECD392}" dt="2023-12-06T15:18:46.375" v="17488"/>
          <ac:spMkLst>
            <pc:docMk/>
            <pc:sldMk cId="3623294175" sldId="414"/>
            <ac:spMk id="4" creationId="{803CD5D5-9DD0-AAA9-1004-6C7BA826BA98}"/>
          </ac:spMkLst>
        </pc:spChg>
        <pc:spChg chg="mod">
          <ac:chgData name="Ischanka, Eugen" userId="e4e12248-2210-4459-89e3-acb2dd10c338" providerId="ADAL" clId="{EDBCA537-9AA3-447E-A484-FAC301ECD392}" dt="2023-12-01T14:20:10.478" v="13791" actId="20577"/>
          <ac:spMkLst>
            <pc:docMk/>
            <pc:sldMk cId="3623294175" sldId="414"/>
            <ac:spMk id="9" creationId="{94EE71CB-E905-2BA9-87E2-FF1F7C4F361D}"/>
          </ac:spMkLst>
        </pc:spChg>
        <pc:graphicFrameChg chg="add del mod modGraphic">
          <ac:chgData name="Ischanka, Eugen" userId="e4e12248-2210-4459-89e3-acb2dd10c338" providerId="ADAL" clId="{EDBCA537-9AA3-447E-A484-FAC301ECD392}" dt="2023-12-01T14:25:37.403" v="13830" actId="478"/>
          <ac:graphicFrameMkLst>
            <pc:docMk/>
            <pc:sldMk cId="3623294175" sldId="414"/>
            <ac:graphicFrameMk id="2" creationId="{CADABEF6-DA99-E7AF-6D74-27A2CA81272B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4T11:39:30.694" v="17239"/>
          <ac:graphicFrameMkLst>
            <pc:docMk/>
            <pc:sldMk cId="3623294175" sldId="414"/>
            <ac:graphicFrameMk id="8" creationId="{530DF6F2-A25E-DB3E-D2A6-7A602C18DD58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3T09:47:27.865" v="14630" actId="20577"/>
          <ac:graphicFrameMkLst>
            <pc:docMk/>
            <pc:sldMk cId="3623294175" sldId="414"/>
            <ac:graphicFrameMk id="11" creationId="{563B676E-748B-2421-6988-35EFEE0E07B2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3.467" v="17305"/>
          <ac:picMkLst>
            <pc:docMk/>
            <pc:sldMk cId="3623294175" sldId="414"/>
            <ac:picMk id="5" creationId="{40F37238-EC83-0326-E17F-50FD7CB7FB66}"/>
          </ac:picMkLst>
        </pc:picChg>
      </pc:sldChg>
      <pc:sldChg chg="add del">
        <pc:chgData name="Ischanka, Eugen" userId="e4e12248-2210-4459-89e3-acb2dd10c338" providerId="ADAL" clId="{EDBCA537-9AA3-447E-A484-FAC301ECD392}" dt="2023-12-01T13:50:20.622" v="13654" actId="47"/>
        <pc:sldMkLst>
          <pc:docMk/>
          <pc:sldMk cId="3887941114" sldId="414"/>
        </pc:sldMkLst>
      </pc:sldChg>
      <pc:sldChg chg="add del">
        <pc:chgData name="Ischanka, Eugen" userId="e4e12248-2210-4459-89e3-acb2dd10c338" providerId="ADAL" clId="{EDBCA537-9AA3-447E-A484-FAC301ECD392}" dt="2023-12-01T12:30:03.146" v="13489" actId="47"/>
        <pc:sldMkLst>
          <pc:docMk/>
          <pc:sldMk cId="4008823800" sldId="414"/>
        </pc:sldMkLst>
      </pc:sldChg>
      <pc:sldChg chg="add del">
        <pc:chgData name="Ischanka, Eugen" userId="e4e12248-2210-4459-89e3-acb2dd10c338" providerId="ADAL" clId="{EDBCA537-9AA3-447E-A484-FAC301ECD392}" dt="2023-12-01T15:33:29.513" v="14275" actId="47"/>
        <pc:sldMkLst>
          <pc:docMk/>
          <pc:sldMk cId="131255029" sldId="415"/>
        </pc:sldMkLst>
      </pc:sldChg>
      <pc:sldChg chg="addSp delSp modSp add mod">
        <pc:chgData name="Ischanka, Eugen" userId="e4e12248-2210-4459-89e3-acb2dd10c338" providerId="ADAL" clId="{EDBCA537-9AA3-447E-A484-FAC301ECD392}" dt="2023-12-06T15:19:43.370" v="17506"/>
        <pc:sldMkLst>
          <pc:docMk/>
          <pc:sldMk cId="206671879" sldId="415"/>
        </pc:sldMkLst>
        <pc:spChg chg="mod">
          <ac:chgData name="Ischanka, Eugen" userId="e4e12248-2210-4459-89e3-acb2dd10c338" providerId="ADAL" clId="{EDBCA537-9AA3-447E-A484-FAC301ECD392}" dt="2023-12-06T15:19:43.370" v="17506"/>
          <ac:spMkLst>
            <pc:docMk/>
            <pc:sldMk cId="206671879" sldId="415"/>
            <ac:spMk id="4" creationId="{B5E8BC01-7491-97C7-1D37-EAC01095744A}"/>
          </ac:spMkLst>
        </pc:spChg>
        <pc:spChg chg="mod">
          <ac:chgData name="Ischanka, Eugen" userId="e4e12248-2210-4459-89e3-acb2dd10c338" providerId="ADAL" clId="{EDBCA537-9AA3-447E-A484-FAC301ECD392}" dt="2023-12-03T11:21:23.804" v="15564" actId="1076"/>
          <ac:spMkLst>
            <pc:docMk/>
            <pc:sldMk cId="206671879" sldId="415"/>
            <ac:spMk id="5" creationId="{9953B080-4E8B-8B28-3B48-AC22D1723357}"/>
          </ac:spMkLst>
        </pc:spChg>
        <pc:spChg chg="mod">
          <ac:chgData name="Ischanka, Eugen" userId="e4e12248-2210-4459-89e3-acb2dd10c338" providerId="ADAL" clId="{EDBCA537-9AA3-447E-A484-FAC301ECD392}" dt="2023-12-03T11:17:43.598" v="15557" actId="1076"/>
          <ac:spMkLst>
            <pc:docMk/>
            <pc:sldMk cId="206671879" sldId="415"/>
            <ac:spMk id="7" creationId="{2AEDF8D4-6E02-EE0D-24A2-1A3545ABE665}"/>
          </ac:spMkLst>
        </pc:spChg>
        <pc:spChg chg="add del mod">
          <ac:chgData name="Ischanka, Eugen" userId="e4e12248-2210-4459-89e3-acb2dd10c338" providerId="ADAL" clId="{EDBCA537-9AA3-447E-A484-FAC301ECD392}" dt="2023-12-03T11:16:15.569" v="15551"/>
          <ac:spMkLst>
            <pc:docMk/>
            <pc:sldMk cId="206671879" sldId="415"/>
            <ac:spMk id="8" creationId="{11E2214A-4C90-8C3A-148C-839BBB56E37E}"/>
          </ac:spMkLst>
        </pc:spChg>
        <pc:graphicFrameChg chg="add mod ord">
          <ac:chgData name="Ischanka, Eugen" userId="e4e12248-2210-4459-89e3-acb2dd10c338" providerId="ADAL" clId="{EDBCA537-9AA3-447E-A484-FAC301ECD392}" dt="2023-12-03T11:19:16.126" v="15563" actId="404"/>
          <ac:graphicFrameMkLst>
            <pc:docMk/>
            <pc:sldMk cId="206671879" sldId="415"/>
            <ac:graphicFrameMk id="9" creationId="{148C7DB5-C7EB-4434-3930-ACF94669F7F8}"/>
          </ac:graphicFrameMkLst>
        </pc:graphicFrameChg>
        <pc:graphicFrameChg chg="del">
          <ac:chgData name="Ischanka, Eugen" userId="e4e12248-2210-4459-89e3-acb2dd10c338" providerId="ADAL" clId="{EDBCA537-9AA3-447E-A484-FAC301ECD392}" dt="2023-12-03T11:12:29.993" v="15548" actId="478"/>
          <ac:graphicFrameMkLst>
            <pc:docMk/>
            <pc:sldMk cId="206671879" sldId="415"/>
            <ac:graphicFrameMk id="10" creationId="{346694AC-5D34-A38C-F46F-73C7965196AC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3.061" v="17340"/>
          <ac:picMkLst>
            <pc:docMk/>
            <pc:sldMk cId="206671879" sldId="415"/>
            <ac:picMk id="2" creationId="{82FE3A15-FB5B-3115-EE07-9DEE0C3BC6BE}"/>
          </ac:picMkLst>
        </pc:picChg>
      </pc:sldChg>
      <pc:sldChg chg="add del">
        <pc:chgData name="Ischanka, Eugen" userId="e4e12248-2210-4459-89e3-acb2dd10c338" providerId="ADAL" clId="{EDBCA537-9AA3-447E-A484-FAC301ECD392}" dt="2023-12-01T15:43:28.143" v="14517" actId="47"/>
        <pc:sldMkLst>
          <pc:docMk/>
          <pc:sldMk cId="1051883380" sldId="415"/>
        </pc:sldMkLst>
      </pc:sldChg>
      <pc:sldChg chg="add del">
        <pc:chgData name="Ischanka, Eugen" userId="e4e12248-2210-4459-89e3-acb2dd10c338" providerId="ADAL" clId="{EDBCA537-9AA3-447E-A484-FAC301ECD392}" dt="2023-12-03T10:43:49.735" v="15315" actId="47"/>
        <pc:sldMkLst>
          <pc:docMk/>
          <pc:sldMk cId="2077468390" sldId="415"/>
        </pc:sldMkLst>
      </pc:sldChg>
      <pc:sldChg chg="add del">
        <pc:chgData name="Ischanka, Eugen" userId="e4e12248-2210-4459-89e3-acb2dd10c338" providerId="ADAL" clId="{EDBCA537-9AA3-447E-A484-FAC301ECD392}" dt="2023-12-03T11:30:32.319" v="15602" actId="47"/>
        <pc:sldMkLst>
          <pc:docMk/>
          <pc:sldMk cId="3151992612" sldId="416"/>
        </pc:sldMkLst>
      </pc:sldChg>
      <pc:sldChg chg="addSp delSp modSp add mod">
        <pc:chgData name="Ischanka, Eugen" userId="e4e12248-2210-4459-89e3-acb2dd10c338" providerId="ADAL" clId="{EDBCA537-9AA3-447E-A484-FAC301ECD392}" dt="2023-12-06T15:19:56.878" v="17510"/>
        <pc:sldMkLst>
          <pc:docMk/>
          <pc:sldMk cId="3433820261" sldId="416"/>
        </pc:sldMkLst>
        <pc:spChg chg="del mod">
          <ac:chgData name="Ischanka, Eugen" userId="e4e12248-2210-4459-89e3-acb2dd10c338" providerId="ADAL" clId="{EDBCA537-9AA3-447E-A484-FAC301ECD392}" dt="2023-12-04T08:56:24.252" v="16309" actId="478"/>
          <ac:spMkLst>
            <pc:docMk/>
            <pc:sldMk cId="3433820261" sldId="416"/>
            <ac:spMk id="2" creationId="{EA7402DB-CCE3-76B0-C9BF-8A0F16089DA8}"/>
          </ac:spMkLst>
        </pc:spChg>
        <pc:spChg chg="mod">
          <ac:chgData name="Ischanka, Eugen" userId="e4e12248-2210-4459-89e3-acb2dd10c338" providerId="ADAL" clId="{EDBCA537-9AA3-447E-A484-FAC301ECD392}" dt="2023-12-06T15:19:56.878" v="17510"/>
          <ac:spMkLst>
            <pc:docMk/>
            <pc:sldMk cId="3433820261" sldId="416"/>
            <ac:spMk id="4" creationId="{F6D93135-8BE9-255B-10E9-986B3C3AC996}"/>
          </ac:spMkLst>
        </pc:spChg>
        <pc:spChg chg="add del mod">
          <ac:chgData name="Ischanka, Eugen" userId="e4e12248-2210-4459-89e3-acb2dd10c338" providerId="ADAL" clId="{EDBCA537-9AA3-447E-A484-FAC301ECD392}" dt="2023-12-04T08:56:40.765" v="16312"/>
          <ac:spMkLst>
            <pc:docMk/>
            <pc:sldMk cId="3433820261" sldId="416"/>
            <ac:spMk id="10" creationId="{8443320C-31E4-DC4B-9505-9E7627A354E7}"/>
          </ac:spMkLst>
        </pc:spChg>
        <pc:spChg chg="add mod">
          <ac:chgData name="Ischanka, Eugen" userId="e4e12248-2210-4459-89e3-acb2dd10c338" providerId="ADAL" clId="{EDBCA537-9AA3-447E-A484-FAC301ECD392}" dt="2023-12-04T10:36:46.799" v="17238" actId="14100"/>
          <ac:spMkLst>
            <pc:docMk/>
            <pc:sldMk cId="3433820261" sldId="416"/>
            <ac:spMk id="12" creationId="{AF33329F-3B8D-3EB0-D904-C3FECE4BC5ED}"/>
          </ac:spMkLst>
        </pc:spChg>
        <pc:graphicFrameChg chg="add mod modGraphic">
          <ac:chgData name="Ischanka, Eugen" userId="e4e12248-2210-4459-89e3-acb2dd10c338" providerId="ADAL" clId="{EDBCA537-9AA3-447E-A484-FAC301ECD392}" dt="2023-12-04T08:59:40.952" v="16396" actId="20577"/>
          <ac:graphicFrameMkLst>
            <pc:docMk/>
            <pc:sldMk cId="3433820261" sldId="416"/>
            <ac:graphicFrameMk id="5" creationId="{25BB9B86-7267-DCD5-F811-24E649F385E8}"/>
          </ac:graphicFrameMkLst>
        </pc:graphicFrameChg>
        <pc:graphicFrameChg chg="del">
          <ac:chgData name="Ischanka, Eugen" userId="e4e12248-2210-4459-89e3-acb2dd10c338" providerId="ADAL" clId="{EDBCA537-9AA3-447E-A484-FAC301ECD392}" dt="2023-12-03T11:50:02.442" v="15723" actId="478"/>
          <ac:graphicFrameMkLst>
            <pc:docMk/>
            <pc:sldMk cId="3433820261" sldId="416"/>
            <ac:graphicFrameMk id="7" creationId="{47CC3E69-F99B-5531-0435-D8EF09CD71A1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4T08:58:11.074" v="16330" actId="167"/>
          <ac:graphicFrameMkLst>
            <pc:docMk/>
            <pc:sldMk cId="3433820261" sldId="416"/>
            <ac:graphicFrameMk id="11" creationId="{64BBDBE6-736A-4877-BB1C-967A19489A39}"/>
          </ac:graphicFrameMkLst>
        </pc:graphicFrameChg>
        <pc:graphicFrameChg chg="del">
          <ac:chgData name="Ischanka, Eugen" userId="e4e12248-2210-4459-89e3-acb2dd10c338" providerId="ADAL" clId="{EDBCA537-9AA3-447E-A484-FAC301ECD392}" dt="2023-12-04T08:56:37.463" v="16311" actId="478"/>
          <ac:graphicFrameMkLst>
            <pc:docMk/>
            <pc:sldMk cId="3433820261" sldId="416"/>
            <ac:graphicFrameMk id="16" creationId="{BB4FECC6-E682-0E0C-D0DA-4E8BDE28B71A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8.407" v="17344"/>
          <ac:picMkLst>
            <pc:docMk/>
            <pc:sldMk cId="3433820261" sldId="416"/>
            <ac:picMk id="2" creationId="{5C556CC6-3104-9541-695D-E0DA6AFD2B0A}"/>
          </ac:picMkLst>
        </pc:picChg>
      </pc:sldChg>
      <pc:sldChg chg="addSp delSp modSp new mod ord">
        <pc:chgData name="Ischanka, Eugen" userId="e4e12248-2210-4459-89e3-acb2dd10c338" providerId="ADAL" clId="{EDBCA537-9AA3-447E-A484-FAC301ECD392}" dt="2023-12-06T17:20:06.919" v="17558" actId="20577"/>
        <pc:sldMkLst>
          <pc:docMk/>
          <pc:sldMk cId="306161604" sldId="417"/>
        </pc:sldMkLst>
        <pc:spChg chg="del">
          <ac:chgData name="Ischanka, Eugen" userId="e4e12248-2210-4459-89e3-acb2dd10c338" providerId="ADAL" clId="{EDBCA537-9AA3-447E-A484-FAC301ECD392}" dt="2023-12-06T15:14:42.372" v="17362" actId="22"/>
          <ac:spMkLst>
            <pc:docMk/>
            <pc:sldMk cId="306161604" sldId="417"/>
            <ac:spMk id="2" creationId="{8265996B-EA12-EEC5-3271-16CAD3466029}"/>
          </ac:spMkLst>
        </pc:spChg>
        <pc:spChg chg="mod">
          <ac:chgData name="Ischanka, Eugen" userId="e4e12248-2210-4459-89e3-acb2dd10c338" providerId="ADAL" clId="{EDBCA537-9AA3-447E-A484-FAC301ECD392}" dt="2023-12-06T17:20:06.919" v="17558" actId="20577"/>
          <ac:spMkLst>
            <pc:docMk/>
            <pc:sldMk cId="306161604" sldId="417"/>
            <ac:spMk id="3" creationId="{EDF513DC-9A82-A96D-3B27-A4D746C2F8D9}"/>
          </ac:spMkLst>
        </pc:spChg>
        <pc:spChg chg="mod">
          <ac:chgData name="Ischanka, Eugen" userId="e4e12248-2210-4459-89e3-acb2dd10c338" providerId="ADAL" clId="{EDBCA537-9AA3-447E-A484-FAC301ECD392}" dt="2023-12-06T15:20:11.386" v="17514"/>
          <ac:spMkLst>
            <pc:docMk/>
            <pc:sldMk cId="306161604" sldId="417"/>
            <ac:spMk id="4" creationId="{88DDE953-E352-CB16-994C-0563BE1896CF}"/>
          </ac:spMkLst>
        </pc:spChg>
        <pc:spChg chg="add mod">
          <ac:chgData name="Ischanka, Eugen" userId="e4e12248-2210-4459-89e3-acb2dd10c338" providerId="ADAL" clId="{EDBCA537-9AA3-447E-A484-FAC301ECD392}" dt="2023-12-06T15:16:29.067" v="17462" actId="1076"/>
          <ac:spMkLst>
            <pc:docMk/>
            <pc:sldMk cId="306161604" sldId="417"/>
            <ac:spMk id="8" creationId="{705C9416-C309-222E-E4BD-94E86E0C718D}"/>
          </ac:spMkLst>
        </pc:spChg>
        <pc:picChg chg="add mod">
          <ac:chgData name="Ischanka, Eugen" userId="e4e12248-2210-4459-89e3-acb2dd10c338" providerId="ADAL" clId="{EDBCA537-9AA3-447E-A484-FAC301ECD392}" dt="2023-12-06T15:11:04.224" v="17356"/>
          <ac:picMkLst>
            <pc:docMk/>
            <pc:sldMk cId="306161604" sldId="417"/>
            <ac:picMk id="5" creationId="{5B7E403A-0D36-0737-7F8E-A2D27588A0D8}"/>
          </ac:picMkLst>
        </pc:picChg>
        <pc:picChg chg="add mod ord">
          <ac:chgData name="Ischanka, Eugen" userId="e4e12248-2210-4459-89e3-acb2dd10c338" providerId="ADAL" clId="{EDBCA537-9AA3-447E-A484-FAC301ECD392}" dt="2023-12-06T15:15:04.090" v="17363" actId="29295"/>
          <ac:picMkLst>
            <pc:docMk/>
            <pc:sldMk cId="306161604" sldId="417"/>
            <ac:picMk id="7" creationId="{851C75C9-CF5F-2BCE-81B3-EB10A07A1BEE}"/>
          </ac:picMkLst>
        </pc:picChg>
      </pc:sldChg>
      <pc:sldChg chg="modSp add del mod">
        <pc:chgData name="Ischanka, Eugen" userId="e4e12248-2210-4459-89e3-acb2dd10c338" providerId="ADAL" clId="{EDBCA537-9AA3-447E-A484-FAC301ECD392}" dt="2023-12-03T12:10:32.461" v="15878" actId="47"/>
        <pc:sldMkLst>
          <pc:docMk/>
          <pc:sldMk cId="3012017403" sldId="417"/>
        </pc:sldMkLst>
        <pc:spChg chg="mod">
          <ac:chgData name="Ischanka, Eugen" userId="e4e12248-2210-4459-89e3-acb2dd10c338" providerId="ADAL" clId="{EDBCA537-9AA3-447E-A484-FAC301ECD392}" dt="2023-12-03T12:06:22.241" v="15877" actId="20577"/>
          <ac:spMkLst>
            <pc:docMk/>
            <pc:sldMk cId="3012017403" sldId="417"/>
            <ac:spMk id="10" creationId="{7CE6E862-10E0-468E-730F-D45A652B4D23}"/>
          </ac:spMkLst>
        </pc:spChg>
      </pc:sldChg>
      <pc:sldChg chg="add del">
        <pc:chgData name="Ischanka, Eugen" userId="e4e12248-2210-4459-89e3-acb2dd10c338" providerId="ADAL" clId="{EDBCA537-9AA3-447E-A484-FAC301ECD392}" dt="2023-12-03T12:27:27.265" v="15983" actId="47"/>
        <pc:sldMkLst>
          <pc:docMk/>
          <pc:sldMk cId="3544716981" sldId="417"/>
        </pc:sldMkLst>
      </pc:sldChg>
      <pc:sldChg chg="addSp delSp modSp new del mod">
        <pc:chgData name="Ischanka, Eugen" userId="e4e12248-2210-4459-89e3-acb2dd10c338" providerId="ADAL" clId="{EDBCA537-9AA3-447E-A484-FAC301ECD392}" dt="2023-12-04T10:00:48.100" v="17176" actId="47"/>
        <pc:sldMkLst>
          <pc:docMk/>
          <pc:sldMk cId="1572564008" sldId="418"/>
        </pc:sldMkLst>
        <pc:spChg chg="del">
          <ac:chgData name="Ischanka, Eugen" userId="e4e12248-2210-4459-89e3-acb2dd10c338" providerId="ADAL" clId="{EDBCA537-9AA3-447E-A484-FAC301ECD392}" dt="2023-12-04T07:42:47.342" v="16197"/>
          <ac:spMkLst>
            <pc:docMk/>
            <pc:sldMk cId="1572564008" sldId="418"/>
            <ac:spMk id="2" creationId="{95BEC620-5303-2CAC-B1F9-C433D30C27AB}"/>
          </ac:spMkLst>
        </pc:spChg>
        <pc:spChg chg="add mod">
          <ac:chgData name="Ischanka, Eugen" userId="e4e12248-2210-4459-89e3-acb2dd10c338" providerId="ADAL" clId="{EDBCA537-9AA3-447E-A484-FAC301ECD392}" dt="2023-12-04T10:00:46.734" v="17175" actId="478"/>
          <ac:spMkLst>
            <pc:docMk/>
            <pc:sldMk cId="1572564008" sldId="418"/>
            <ac:spMk id="7" creationId="{AC4ED627-90B5-C939-1B0F-2D2F9F3BAF1F}"/>
          </ac:spMkLst>
        </pc:spChg>
        <pc:graphicFrameChg chg="add del mod modGraphic">
          <ac:chgData name="Ischanka, Eugen" userId="e4e12248-2210-4459-89e3-acb2dd10c338" providerId="ADAL" clId="{EDBCA537-9AA3-447E-A484-FAC301ECD392}" dt="2023-12-04T10:00:46.734" v="17175" actId="478"/>
          <ac:graphicFrameMkLst>
            <pc:docMk/>
            <pc:sldMk cId="1572564008" sldId="418"/>
            <ac:graphicFrameMk id="5" creationId="{49F2C195-1B48-97A2-5FFD-8CDE6C94E223}"/>
          </ac:graphicFrameMkLst>
        </pc:graphicFrameChg>
      </pc:sldChg>
      <pc:sldChg chg="addSp delSp modSp add mod">
        <pc:chgData name="Ischanka, Eugen" userId="e4e12248-2210-4459-89e3-acb2dd10c338" providerId="ADAL" clId="{EDBCA537-9AA3-447E-A484-FAC301ECD392}" dt="2023-12-06T15:19:35.128" v="17503"/>
        <pc:sldMkLst>
          <pc:docMk/>
          <pc:sldMk cId="2098740690" sldId="419"/>
        </pc:sldMkLst>
        <pc:spChg chg="mod">
          <ac:chgData name="Ischanka, Eugen" userId="e4e12248-2210-4459-89e3-acb2dd10c338" providerId="ADAL" clId="{EDBCA537-9AA3-447E-A484-FAC301ECD392}" dt="2023-12-06T15:19:35.128" v="17503"/>
          <ac:spMkLst>
            <pc:docMk/>
            <pc:sldMk cId="2098740690" sldId="419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EDBCA537-9AA3-447E-A484-FAC301ECD392}" dt="2023-12-04T08:43:26.121" v="16253" actId="478"/>
          <ac:spMkLst>
            <pc:docMk/>
            <pc:sldMk cId="2098740690" sldId="419"/>
            <ac:spMk id="7" creationId="{1F9D3FEC-47DC-B37B-BE13-86CE1BE6FD26}"/>
          </ac:spMkLst>
        </pc:spChg>
        <pc:graphicFrameChg chg="mod ord">
          <ac:chgData name="Ischanka, Eugen" userId="e4e12248-2210-4459-89e3-acb2dd10c338" providerId="ADAL" clId="{EDBCA537-9AA3-447E-A484-FAC301ECD392}" dt="2023-12-04T08:47:42.469" v="16306" actId="404"/>
          <ac:graphicFrameMkLst>
            <pc:docMk/>
            <pc:sldMk cId="2098740690" sldId="419"/>
            <ac:graphicFrameMk id="2" creationId="{F721A110-647B-4370-B71D-D27ABBDB5DE3}"/>
          </ac:graphicFrameMkLst>
        </pc:graphicFrameChg>
        <pc:graphicFrameChg chg="del">
          <ac:chgData name="Ischanka, Eugen" userId="e4e12248-2210-4459-89e3-acb2dd10c338" providerId="ADAL" clId="{EDBCA537-9AA3-447E-A484-FAC301ECD392}" dt="2023-12-04T08:42:41.088" v="16247" actId="478"/>
          <ac:graphicFrameMkLst>
            <pc:docMk/>
            <pc:sldMk cId="2098740690" sldId="419"/>
            <ac:graphicFrameMk id="5" creationId="{B44C217B-A4E1-47F6-8E04-D51027AD0B1C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4T08:42:34.188" v="16246" actId="404"/>
          <ac:graphicFrameMkLst>
            <pc:docMk/>
            <pc:sldMk cId="2098740690" sldId="419"/>
            <ac:graphicFrameMk id="9" creationId="{74A27068-7CF8-0E9A-5FF0-DA130878344B}"/>
          </ac:graphicFrameMkLst>
        </pc:graphicFrameChg>
        <pc:graphicFrameChg chg="del">
          <ac:chgData name="Ischanka, Eugen" userId="e4e12248-2210-4459-89e3-acb2dd10c338" providerId="ADAL" clId="{EDBCA537-9AA3-447E-A484-FAC301ECD392}" dt="2023-12-04T08:43:23.649" v="16252" actId="478"/>
          <ac:graphicFrameMkLst>
            <pc:docMk/>
            <pc:sldMk cId="2098740690" sldId="419"/>
            <ac:graphicFrameMk id="16" creationId="{F721A110-647B-4370-B71D-D27ABBDB5DE3}"/>
          </ac:graphicFrameMkLst>
        </pc:graphicFrameChg>
        <pc:graphicFrameChg chg="mod">
          <ac:chgData name="Ischanka, Eugen" userId="e4e12248-2210-4459-89e3-acb2dd10c338" providerId="ADAL" clId="{EDBCA537-9AA3-447E-A484-FAC301ECD392}" dt="2023-12-04T08:47:49.075" v="16307" actId="1076"/>
          <ac:graphicFrameMkLst>
            <pc:docMk/>
            <pc:sldMk cId="2098740690" sldId="419"/>
            <ac:graphicFrameMk id="18" creationId="{060C52C9-9D13-259D-1891-3B6D7E33CE81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8.341" v="17337"/>
          <ac:picMkLst>
            <pc:docMk/>
            <pc:sldMk cId="2098740690" sldId="419"/>
            <ac:picMk id="5" creationId="{F44556AF-F16E-FCCB-B70C-F7B3CCD3F0AC}"/>
          </ac:picMkLst>
        </pc:picChg>
      </pc:sldChg>
      <pc:sldChg chg="add del">
        <pc:chgData name="Ischanka, Eugen" userId="e4e12248-2210-4459-89e3-acb2dd10c338" providerId="ADAL" clId="{EDBCA537-9AA3-447E-A484-FAC301ECD392}" dt="2023-12-04T09:16:43.398" v="16437" actId="47"/>
        <pc:sldMkLst>
          <pc:docMk/>
          <pc:sldMk cId="1541137477" sldId="420"/>
        </pc:sldMkLst>
      </pc:sldChg>
      <pc:sldChg chg="add del">
        <pc:chgData name="Ischanka, Eugen" userId="e4e12248-2210-4459-89e3-acb2dd10c338" providerId="ADAL" clId="{EDBCA537-9AA3-447E-A484-FAC301ECD392}" dt="2023-12-04T08:58:30.089" v="16332" actId="47"/>
        <pc:sldMkLst>
          <pc:docMk/>
          <pc:sldMk cId="2750186433" sldId="420"/>
        </pc:sldMkLst>
      </pc:sldChg>
      <pc:sldChg chg="addSp delSp modSp add mod">
        <pc:chgData name="Ischanka, Eugen" userId="e4e12248-2210-4459-89e3-acb2dd10c338" providerId="ADAL" clId="{EDBCA537-9AA3-447E-A484-FAC301ECD392}" dt="2023-12-06T15:20:08.084" v="17513"/>
        <pc:sldMkLst>
          <pc:docMk/>
          <pc:sldMk cId="3296114413" sldId="420"/>
        </pc:sldMkLst>
        <pc:spChg chg="mod">
          <ac:chgData name="Ischanka, Eugen" userId="e4e12248-2210-4459-89e3-acb2dd10c338" providerId="ADAL" clId="{EDBCA537-9AA3-447E-A484-FAC301ECD392}" dt="2023-12-06T15:10:49.738" v="17354" actId="14100"/>
          <ac:spMkLst>
            <pc:docMk/>
            <pc:sldMk cId="3296114413" sldId="420"/>
            <ac:spMk id="3" creationId="{B188BE0F-7AED-3FAE-8A86-C6DDAE07A9D2}"/>
          </ac:spMkLst>
        </pc:spChg>
        <pc:spChg chg="mod">
          <ac:chgData name="Ischanka, Eugen" userId="e4e12248-2210-4459-89e3-acb2dd10c338" providerId="ADAL" clId="{EDBCA537-9AA3-447E-A484-FAC301ECD392}" dt="2023-12-06T15:10:25.460" v="17349" actId="1076"/>
          <ac:spMkLst>
            <pc:docMk/>
            <pc:sldMk cId="3296114413" sldId="420"/>
            <ac:spMk id="5" creationId="{700A4A9F-8590-FEEB-D2C4-FBD631F0C1AA}"/>
          </ac:spMkLst>
        </pc:spChg>
        <pc:spChg chg="mod">
          <ac:chgData name="Ischanka, Eugen" userId="e4e12248-2210-4459-89e3-acb2dd10c338" providerId="ADAL" clId="{EDBCA537-9AA3-447E-A484-FAC301ECD392}" dt="2023-12-06T15:20:08.084" v="17513"/>
          <ac:spMkLst>
            <pc:docMk/>
            <pc:sldMk cId="3296114413" sldId="420"/>
            <ac:spMk id="6" creationId="{D7D0F84A-F451-5786-0579-7050A9E10DA6}"/>
          </ac:spMkLst>
        </pc:spChg>
        <pc:spChg chg="mod">
          <ac:chgData name="Ischanka, Eugen" userId="e4e12248-2210-4459-89e3-acb2dd10c338" providerId="ADAL" clId="{EDBCA537-9AA3-447E-A484-FAC301ECD392}" dt="2023-12-06T15:10:29.562" v="17350" actId="1076"/>
          <ac:spMkLst>
            <pc:docMk/>
            <pc:sldMk cId="3296114413" sldId="420"/>
            <ac:spMk id="8" creationId="{03C1BA03-88C4-EF3F-7B37-80FA3DC956DA}"/>
          </ac:spMkLst>
        </pc:spChg>
        <pc:spChg chg="mod">
          <ac:chgData name="Ischanka, Eugen" userId="e4e12248-2210-4459-89e3-acb2dd10c338" providerId="ADAL" clId="{EDBCA537-9AA3-447E-A484-FAC301ECD392}" dt="2023-12-04T09:59:30.225" v="17166" actId="404"/>
          <ac:spMkLst>
            <pc:docMk/>
            <pc:sldMk cId="3296114413" sldId="420"/>
            <ac:spMk id="9" creationId="{1C24FA4A-0D3E-A23B-BE14-ED849620809C}"/>
          </ac:spMkLst>
        </pc:spChg>
        <pc:graphicFrameChg chg="add mod ord">
          <ac:chgData name="Ischanka, Eugen" userId="e4e12248-2210-4459-89e3-acb2dd10c338" providerId="ADAL" clId="{EDBCA537-9AA3-447E-A484-FAC301ECD392}" dt="2023-12-04T10:26:12.545" v="17179" actId="692"/>
          <ac:graphicFrameMkLst>
            <pc:docMk/>
            <pc:sldMk cId="3296114413" sldId="420"/>
            <ac:graphicFrameMk id="2" creationId="{17E37075-2EED-C32F-7A5C-5528BC34957E}"/>
          </ac:graphicFrameMkLst>
        </pc:graphicFrameChg>
        <pc:graphicFrameChg chg="del">
          <ac:chgData name="Ischanka, Eugen" userId="e4e12248-2210-4459-89e3-acb2dd10c338" providerId="ADAL" clId="{EDBCA537-9AA3-447E-A484-FAC301ECD392}" dt="2023-12-04T09:52:02.812" v="17139" actId="478"/>
          <ac:graphicFrameMkLst>
            <pc:docMk/>
            <pc:sldMk cId="3296114413" sldId="420"/>
            <ac:graphicFrameMk id="7" creationId="{FB78A373-238C-40DF-A648-AEB6307DE6D3}"/>
          </ac:graphicFrameMkLst>
        </pc:graphicFrameChg>
        <pc:graphicFrameChg chg="mod">
          <ac:chgData name="Ischanka, Eugen" userId="e4e12248-2210-4459-89e3-acb2dd10c338" providerId="ADAL" clId="{EDBCA537-9AA3-447E-A484-FAC301ECD392}" dt="2023-12-06T15:10:55.506" v="17355" actId="1076"/>
          <ac:graphicFrameMkLst>
            <pc:docMk/>
            <pc:sldMk cId="3296114413" sldId="420"/>
            <ac:graphicFrameMk id="10" creationId="{BAAFC82F-40D1-A98C-27CF-47E30855B6BF}"/>
          </ac:graphicFrameMkLst>
        </pc:graphicFrameChg>
        <pc:picChg chg="add mod">
          <ac:chgData name="Ischanka, Eugen" userId="e4e12248-2210-4459-89e3-acb2dd10c338" providerId="ADAL" clId="{EDBCA537-9AA3-447E-A484-FAC301ECD392}" dt="2023-12-06T15:10:14.256" v="17348"/>
          <ac:picMkLst>
            <pc:docMk/>
            <pc:sldMk cId="3296114413" sldId="420"/>
            <ac:picMk id="7" creationId="{0CF7651F-6112-3B1C-9B84-12427EF7ABC2}"/>
          </ac:picMkLst>
        </pc:picChg>
      </pc:sldChg>
      <pc:sldChg chg="addSp delSp modSp new mod">
        <pc:chgData name="Ischanka, Eugen" userId="e4e12248-2210-4459-89e3-acb2dd10c338" providerId="ADAL" clId="{EDBCA537-9AA3-447E-A484-FAC301ECD392}" dt="2023-12-06T17:30:46.491" v="18409" actId="20577"/>
        <pc:sldMkLst>
          <pc:docMk/>
          <pc:sldMk cId="988216951" sldId="421"/>
        </pc:sldMkLst>
        <pc:spChg chg="del">
          <ac:chgData name="Ischanka, Eugen" userId="e4e12248-2210-4459-89e3-acb2dd10c338" providerId="ADAL" clId="{EDBCA537-9AA3-447E-A484-FAC301ECD392}" dt="2023-12-06T17:19:26.784" v="17552" actId="22"/>
          <ac:spMkLst>
            <pc:docMk/>
            <pc:sldMk cId="988216951" sldId="421"/>
            <ac:spMk id="2" creationId="{D1C4239C-B8E0-9DCC-38BD-320D0BE5BE2C}"/>
          </ac:spMkLst>
        </pc:spChg>
        <pc:spChg chg="mod">
          <ac:chgData name="Ischanka, Eugen" userId="e4e12248-2210-4459-89e3-acb2dd10c338" providerId="ADAL" clId="{EDBCA537-9AA3-447E-A484-FAC301ECD392}" dt="2023-12-06T17:20:55.581" v="17649" actId="20577"/>
          <ac:spMkLst>
            <pc:docMk/>
            <pc:sldMk cId="988216951" sldId="421"/>
            <ac:spMk id="3" creationId="{BB4D039E-3F3F-78B8-194C-507C4D931617}"/>
          </ac:spMkLst>
        </pc:spChg>
        <pc:spChg chg="mod">
          <ac:chgData name="Ischanka, Eugen" userId="e4e12248-2210-4459-89e3-acb2dd10c338" providerId="ADAL" clId="{EDBCA537-9AA3-447E-A484-FAC301ECD392}" dt="2023-12-06T15:20:14.274" v="17515"/>
          <ac:spMkLst>
            <pc:docMk/>
            <pc:sldMk cId="988216951" sldId="421"/>
            <ac:spMk id="4" creationId="{674D46D7-FA3A-E11B-B095-FA3F5846F996}"/>
          </ac:spMkLst>
        </pc:spChg>
        <pc:spChg chg="add mod">
          <ac:chgData name="Ischanka, Eugen" userId="e4e12248-2210-4459-89e3-acb2dd10c338" providerId="ADAL" clId="{EDBCA537-9AA3-447E-A484-FAC301ECD392}" dt="2023-12-06T17:26:36.885" v="18033" actId="20577"/>
          <ac:spMkLst>
            <pc:docMk/>
            <pc:sldMk cId="988216951" sldId="421"/>
            <ac:spMk id="8" creationId="{31F0F578-07EB-0DD5-C35E-EF2EA34308E8}"/>
          </ac:spMkLst>
        </pc:spChg>
        <pc:spChg chg="add mod">
          <ac:chgData name="Ischanka, Eugen" userId="e4e12248-2210-4459-89e3-acb2dd10c338" providerId="ADAL" clId="{EDBCA537-9AA3-447E-A484-FAC301ECD392}" dt="2023-12-06T17:30:46.491" v="18409" actId="20577"/>
          <ac:spMkLst>
            <pc:docMk/>
            <pc:sldMk cId="988216951" sldId="421"/>
            <ac:spMk id="9" creationId="{39C4D6E5-4AEC-889F-8D0F-E416CF8C91AA}"/>
          </ac:spMkLst>
        </pc:spChg>
        <pc:picChg chg="add mod">
          <ac:chgData name="Ischanka, Eugen" userId="e4e12248-2210-4459-89e3-acb2dd10c338" providerId="ADAL" clId="{EDBCA537-9AA3-447E-A484-FAC301ECD392}" dt="2023-12-06T15:17:56.413" v="17468"/>
          <ac:picMkLst>
            <pc:docMk/>
            <pc:sldMk cId="988216951" sldId="421"/>
            <ac:picMk id="5" creationId="{B3FD5035-C35E-F583-6077-362B2353053F}"/>
          </ac:picMkLst>
        </pc:picChg>
        <pc:picChg chg="add mod ord">
          <ac:chgData name="Ischanka, Eugen" userId="e4e12248-2210-4459-89e3-acb2dd10c338" providerId="ADAL" clId="{EDBCA537-9AA3-447E-A484-FAC301ECD392}" dt="2023-12-06T17:19:52.697" v="17554" actId="1076"/>
          <ac:picMkLst>
            <pc:docMk/>
            <pc:sldMk cId="988216951" sldId="421"/>
            <ac:picMk id="7" creationId="{0F612FF5-F650-B872-6994-CB736417ADCA}"/>
          </ac:picMkLst>
        </pc:picChg>
      </pc:sldChg>
      <pc:sldChg chg="add del">
        <pc:chgData name="Ischanka, Eugen" userId="e4e12248-2210-4459-89e3-acb2dd10c338" providerId="ADAL" clId="{EDBCA537-9AA3-447E-A484-FAC301ECD392}" dt="2023-12-04T10:00:10.152" v="17173" actId="47"/>
        <pc:sldMkLst>
          <pc:docMk/>
          <pc:sldMk cId="3512631969" sldId="421"/>
        </pc:sldMkLst>
      </pc:sldChg>
      <pc:sldChg chg="add del">
        <pc:chgData name="Ischanka, Eugen" userId="e4e12248-2210-4459-89e3-acb2dd10c338" providerId="ADAL" clId="{EDBCA537-9AA3-447E-A484-FAC301ECD392}" dt="2023-12-06T17:19:42.396" v="17553" actId="47"/>
        <pc:sldMkLst>
          <pc:docMk/>
          <pc:sldMk cId="1220443630" sldId="422"/>
        </pc:sldMkLst>
      </pc:sldChg>
      <pc:sldChg chg="add del">
        <pc:chgData name="Ischanka, Eugen" userId="e4e12248-2210-4459-89e3-acb2dd10c338" providerId="ADAL" clId="{EDBCA537-9AA3-447E-A484-FAC301ECD392}" dt="2023-12-06T17:20:15.881" v="17560" actId="47"/>
        <pc:sldMkLst>
          <pc:docMk/>
          <pc:sldMk cId="3212360061" sldId="42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43EB19-F764-4190-93FA-DEA0B4071277}" type="datetimeFigureOut">
              <a:rPr lang="de-DE" smtClean="0"/>
              <a:t>29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017F70-DFCC-4388-9718-69B83A345AB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746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017F70-DFCC-4388-9718-69B83A345AB8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246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D547A23F-54EF-473D-B96F-75F1AECE3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9.11.2024</a:t>
            </a:fld>
            <a:endParaRPr lang="de-DE"/>
          </a:p>
        </p:txBody>
      </p:sp>
      <p:sp>
        <p:nvSpPr>
          <p:cNvPr id="5" name="Fußzeilenplatzhalter 4" hidden="1">
            <a:extLst>
              <a:ext uri="{FF2B5EF4-FFF2-40B4-BE49-F238E27FC236}">
                <a16:creationId xmlns:a16="http://schemas.microsoft.com/office/drawing/2014/main" id="{A25E4536-55EC-48FC-8290-B32F44627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B92FDD89-CA1B-45E2-9F0F-BDD163DB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Bildplatzhalter">
            <a:extLst>
              <a:ext uri="{FF2B5EF4-FFF2-40B4-BE49-F238E27FC236}">
                <a16:creationId xmlns:a16="http://schemas.microsoft.com/office/drawing/2014/main" id="{0720BEAB-E96C-4A1D-8BB7-EF74F9D76F1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5720"/>
            <a:ext cx="12192000" cy="6753600"/>
          </a:xfrm>
          <a:custGeom>
            <a:avLst/>
            <a:gdLst>
              <a:gd name="connsiteX0" fmla="*/ 0 w 12192000"/>
              <a:gd name="connsiteY0" fmla="*/ 0 h 6753600"/>
              <a:gd name="connsiteX1" fmla="*/ 12192000 w 12192000"/>
              <a:gd name="connsiteY1" fmla="*/ 0 h 6753600"/>
              <a:gd name="connsiteX2" fmla="*/ 12192000 w 12192000"/>
              <a:gd name="connsiteY2" fmla="*/ 326741 h 6753600"/>
              <a:gd name="connsiteX3" fmla="*/ 10164296 w 12192000"/>
              <a:gd name="connsiteY3" fmla="*/ 326741 h 6753600"/>
              <a:gd name="connsiteX4" fmla="*/ 9962292 w 12192000"/>
              <a:gd name="connsiteY4" fmla="*/ 528745 h 6753600"/>
              <a:gd name="connsiteX5" fmla="*/ 9962292 w 12192000"/>
              <a:gd name="connsiteY5" fmla="*/ 1336738 h 6753600"/>
              <a:gd name="connsiteX6" fmla="*/ 10164296 w 12192000"/>
              <a:gd name="connsiteY6" fmla="*/ 1538742 h 6753600"/>
              <a:gd name="connsiteX7" fmla="*/ 12192000 w 12192000"/>
              <a:gd name="connsiteY7" fmla="*/ 1538742 h 6753600"/>
              <a:gd name="connsiteX8" fmla="*/ 12192000 w 12192000"/>
              <a:gd name="connsiteY8" fmla="*/ 6358882 h 6753600"/>
              <a:gd name="connsiteX9" fmla="*/ 8460638 w 12192000"/>
              <a:gd name="connsiteY9" fmla="*/ 6358882 h 6753600"/>
              <a:gd name="connsiteX10" fmla="*/ 8410818 w 12192000"/>
              <a:gd name="connsiteY10" fmla="*/ 6408702 h 6753600"/>
              <a:gd name="connsiteX11" fmla="*/ 8410818 w 12192000"/>
              <a:gd name="connsiteY11" fmla="*/ 6607978 h 6753600"/>
              <a:gd name="connsiteX12" fmla="*/ 8460638 w 12192000"/>
              <a:gd name="connsiteY12" fmla="*/ 6657798 h 6753600"/>
              <a:gd name="connsiteX13" fmla="*/ 12192000 w 12192000"/>
              <a:gd name="connsiteY13" fmla="*/ 6657798 h 6753600"/>
              <a:gd name="connsiteX14" fmla="*/ 12192000 w 12192000"/>
              <a:gd name="connsiteY14" fmla="*/ 6753600 h 6753600"/>
              <a:gd name="connsiteX15" fmla="*/ 0 w 12192000"/>
              <a:gd name="connsiteY15" fmla="*/ 6753600 h 6753600"/>
              <a:gd name="connsiteX16" fmla="*/ 0 w 12192000"/>
              <a:gd name="connsiteY16" fmla="*/ 5134584 h 6753600"/>
              <a:gd name="connsiteX17" fmla="*/ 6350195 w 12192000"/>
              <a:gd name="connsiteY17" fmla="*/ 5134584 h 6753600"/>
              <a:gd name="connsiteX18" fmla="*/ 6574409 w 12192000"/>
              <a:gd name="connsiteY18" fmla="*/ 4910370 h 6753600"/>
              <a:gd name="connsiteX19" fmla="*/ 6574409 w 12192000"/>
              <a:gd name="connsiteY19" fmla="*/ 4013539 h 6753600"/>
              <a:gd name="connsiteX20" fmla="*/ 6350195 w 12192000"/>
              <a:gd name="connsiteY20" fmla="*/ 3789325 h 6753600"/>
              <a:gd name="connsiteX21" fmla="*/ 0 w 12192000"/>
              <a:gd name="connsiteY21" fmla="*/ 3789325 h 675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753600">
                <a:moveTo>
                  <a:pt x="0" y="0"/>
                </a:moveTo>
                <a:lnTo>
                  <a:pt x="12192000" y="0"/>
                </a:lnTo>
                <a:lnTo>
                  <a:pt x="12192000" y="326741"/>
                </a:lnTo>
                <a:lnTo>
                  <a:pt x="10164296" y="326741"/>
                </a:lnTo>
                <a:cubicBezTo>
                  <a:pt x="10052732" y="326741"/>
                  <a:pt x="9962292" y="417181"/>
                  <a:pt x="9962292" y="528745"/>
                </a:cubicBezTo>
                <a:lnTo>
                  <a:pt x="9962292" y="1336738"/>
                </a:lnTo>
                <a:cubicBezTo>
                  <a:pt x="9962292" y="1448302"/>
                  <a:pt x="10052732" y="1538742"/>
                  <a:pt x="10164296" y="1538742"/>
                </a:cubicBezTo>
                <a:lnTo>
                  <a:pt x="12192000" y="1538742"/>
                </a:lnTo>
                <a:lnTo>
                  <a:pt x="12192000" y="6358882"/>
                </a:lnTo>
                <a:lnTo>
                  <a:pt x="8460638" y="6358882"/>
                </a:lnTo>
                <a:cubicBezTo>
                  <a:pt x="8433122" y="6358882"/>
                  <a:pt x="8410818" y="6381187"/>
                  <a:pt x="8410818" y="6408702"/>
                </a:cubicBezTo>
                <a:lnTo>
                  <a:pt x="8410818" y="6607978"/>
                </a:lnTo>
                <a:cubicBezTo>
                  <a:pt x="8410818" y="6635493"/>
                  <a:pt x="8433122" y="6657798"/>
                  <a:pt x="8460638" y="6657798"/>
                </a:cubicBezTo>
                <a:lnTo>
                  <a:pt x="12192000" y="6657798"/>
                </a:lnTo>
                <a:lnTo>
                  <a:pt x="12192000" y="6753600"/>
                </a:lnTo>
                <a:lnTo>
                  <a:pt x="0" y="6753600"/>
                </a:lnTo>
                <a:lnTo>
                  <a:pt x="0" y="5134584"/>
                </a:lnTo>
                <a:lnTo>
                  <a:pt x="6350195" y="5134584"/>
                </a:lnTo>
                <a:cubicBezTo>
                  <a:pt x="6474025" y="5134584"/>
                  <a:pt x="6574409" y="5034200"/>
                  <a:pt x="6574409" y="4910370"/>
                </a:cubicBezTo>
                <a:lnTo>
                  <a:pt x="6574409" y="4013539"/>
                </a:lnTo>
                <a:cubicBezTo>
                  <a:pt x="6574409" y="3889709"/>
                  <a:pt x="6474025" y="3789325"/>
                  <a:pt x="6350195" y="3789325"/>
                </a:cubicBezTo>
                <a:lnTo>
                  <a:pt x="0" y="3789325"/>
                </a:lnTo>
                <a:close/>
              </a:path>
            </a:pathLst>
          </a:custGeo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723BF07B-2983-49E3-B662-CD38CF07A5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411" y="451585"/>
            <a:ext cx="1216431" cy="1044743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34BF8D78-90B3-4AEE-AB2C-59260F88FC4F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32000" y="4727421"/>
            <a:ext cx="5760000" cy="324000"/>
          </a:xfrm>
        </p:spPr>
        <p:txBody>
          <a:bodyPr>
            <a:normAutofit/>
          </a:bodyPr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B2CA7E72-0284-4F81-9C40-069BD50C7172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432000" y="3971421"/>
            <a:ext cx="5760000" cy="648000"/>
          </a:xfrm>
        </p:spPr>
        <p:txBody>
          <a:bodyPr anchor="ctr" anchorCtr="0"/>
          <a:lstStyle>
            <a:lvl1pPr algn="r">
              <a:defRPr sz="22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924317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8C92E3EB-EDC8-4955-8E38-D64EEAC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9.11.2024</a:t>
            </a:fld>
            <a:endParaRPr lang="de-DE"/>
          </a:p>
        </p:txBody>
      </p:sp>
      <p:sp>
        <p:nvSpPr>
          <p:cNvPr id="4" name="Fußzeilenplatzhalter 3" hidden="1">
            <a:extLst>
              <a:ext uri="{FF2B5EF4-FFF2-40B4-BE49-F238E27FC236}">
                <a16:creationId xmlns:a16="http://schemas.microsoft.com/office/drawing/2014/main" id="{E10CF3AD-9E60-469A-966C-F1F198F52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B4151F24-4269-4970-8916-F7093863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C47613FA-BDC5-4E69-BB7D-7951C1973EF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5720"/>
            <a:ext cx="12192000" cy="6753600"/>
          </a:xfr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</p:spTree>
    <p:extLst>
      <p:ext uri="{BB962C8B-B14F-4D97-AF65-F5344CB8AC3E}">
        <p14:creationId xmlns:p14="http://schemas.microsoft.com/office/powerpoint/2010/main" val="317940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92E3EB-EDC8-4955-8E38-D64EEAC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9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0CF3AD-9E60-469A-966C-F1F198F52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51F24-4269-4970-8916-F7093863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789595F-165C-4C9E-A8A2-60A98DFCA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Stichwort">
            <a:extLst>
              <a:ext uri="{FF2B5EF4-FFF2-40B4-BE49-F238E27FC236}">
                <a16:creationId xmlns:a16="http://schemas.microsoft.com/office/drawing/2014/main" id="{66009246-0C58-4D35-B35C-1DFBC42AC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6255102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F67AD-735F-4196-B50F-7866C9B78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9.1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1A71B6-841D-402F-B559-6C812E46C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6EEBF4-9107-44BD-B198-5BF6D2A77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89746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elfolie_Web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Wasser, Hügel, stehend, Mann enthält.&#10;&#10;Automatisch generierte Beschreibung">
            <a:extLst>
              <a:ext uri="{FF2B5EF4-FFF2-40B4-BE49-F238E27FC236}">
                <a16:creationId xmlns:a16="http://schemas.microsoft.com/office/drawing/2014/main" id="{177875A1-2F49-8E47-9A36-6239A5CC8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0" y="44626"/>
            <a:ext cx="12203876" cy="6735081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531F919-C5FD-CC4B-BBE3-03BB1800CE7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44626"/>
            <a:ext cx="12192000" cy="4032446"/>
          </a:xfr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lIns="0" tIns="1800000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e-DE" err="1"/>
              <a:t>insert</a:t>
            </a:r>
            <a:r>
              <a:rPr lang="de-DE"/>
              <a:t> </a:t>
            </a:r>
            <a:r>
              <a:rPr lang="de-DE" err="1"/>
              <a:t>Backround</a:t>
            </a:r>
            <a:r>
              <a:rPr lang="de-DE"/>
              <a:t>-image / Hintergrundbild einfüg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8E86CD2-301D-754D-A12E-33533D548B4E}"/>
              </a:ext>
            </a:extLst>
          </p:cNvPr>
          <p:cNvSpPr/>
          <p:nvPr userDrawn="1"/>
        </p:nvSpPr>
        <p:spPr>
          <a:xfrm>
            <a:off x="1732" y="3989321"/>
            <a:ext cx="9334628" cy="1671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AE9DA12-0D1A-804F-B437-F6FA8FEC9EC9}"/>
              </a:ext>
            </a:extLst>
          </p:cNvPr>
          <p:cNvSpPr/>
          <p:nvPr userDrawn="1"/>
        </p:nvSpPr>
        <p:spPr>
          <a:xfrm>
            <a:off x="9505007" y="3989321"/>
            <a:ext cx="2692931" cy="1671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723BF07B-2983-49E3-B662-CD38CF07A5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169" y="4293096"/>
            <a:ext cx="1216431" cy="1044743"/>
          </a:xfrm>
          <a:prstGeom prst="rect">
            <a:avLst/>
          </a:prstGeom>
        </p:spPr>
      </p:pic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B7A81368-56A2-ED4C-886E-5FA149FEC9AE}"/>
              </a:ext>
            </a:extLst>
          </p:cNvPr>
          <p:cNvCxnSpPr>
            <a:cxnSpLocks/>
          </p:cNvCxnSpPr>
          <p:nvPr userDrawn="1"/>
        </p:nvCxnSpPr>
        <p:spPr>
          <a:xfrm>
            <a:off x="551384" y="4475421"/>
            <a:ext cx="0" cy="3600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D09F46-A52E-3143-9F6A-B8EC231E05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62" y="4386382"/>
            <a:ext cx="8435615" cy="554786"/>
          </a:xfrm>
        </p:spPr>
        <p:txBody>
          <a:bodyPr>
            <a:noAutofit/>
          </a:bodyPr>
          <a:lstStyle>
            <a:lvl1pPr marL="0" indent="0">
              <a:buNone/>
              <a:defRPr sz="3200" b="1" cap="none" spc="0">
                <a:ln>
                  <a:noFill/>
                </a:ln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de-DE"/>
              <a:t>Master-Webinar-Titel bearbeiten</a:t>
            </a:r>
            <a:br>
              <a:rPr lang="de-DE"/>
            </a:b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621C420-03B3-E54B-8DAD-7D9E4CC2F7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725" y="4960929"/>
            <a:ext cx="8435615" cy="753819"/>
          </a:xfrm>
        </p:spPr>
        <p:txBody>
          <a:bodyPr/>
          <a:lstStyle>
            <a:lvl1pPr marL="0" indent="0">
              <a:lnSpc>
                <a:spcPts val="2000"/>
              </a:lnSpc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-Webinar-Untertitel bearbeiten</a:t>
            </a:r>
            <a:br>
              <a:rPr lang="de-DE"/>
            </a:br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5736DB1-8D41-4A4B-A374-CBF61B9EAB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062" y="5734050"/>
            <a:ext cx="8435615" cy="35877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-Expertenname und -Titel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9759A5-DE07-C547-92A0-602FD51A726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773436" y="3170485"/>
            <a:ext cx="3289963" cy="3289963"/>
          </a:xfrm>
          <a:prstGeom prst="ellipse">
            <a:avLst/>
          </a:prstGeom>
          <a:ln w="7620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Experten-Foto</a:t>
            </a:r>
            <a:br>
              <a:rPr lang="de-DE"/>
            </a:br>
            <a:r>
              <a:rPr lang="de-DE"/>
              <a:t>einfügen</a:t>
            </a:r>
          </a:p>
        </p:txBody>
      </p:sp>
    </p:spTree>
    <p:extLst>
      <p:ext uri="{BB962C8B-B14F-4D97-AF65-F5344CB8AC3E}">
        <p14:creationId xmlns:p14="http://schemas.microsoft.com/office/powerpoint/2010/main" val="1428648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D547A23F-54EF-473D-B96F-75F1AECE3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9.11.2024</a:t>
            </a:fld>
            <a:endParaRPr lang="de-DE"/>
          </a:p>
        </p:txBody>
      </p:sp>
      <p:sp>
        <p:nvSpPr>
          <p:cNvPr id="5" name="Fußzeilenplatzhalter 4" hidden="1">
            <a:extLst>
              <a:ext uri="{FF2B5EF4-FFF2-40B4-BE49-F238E27FC236}">
                <a16:creationId xmlns:a16="http://schemas.microsoft.com/office/drawing/2014/main" id="{A25E4536-55EC-48FC-8290-B32F44627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B92FDD89-CA1B-45E2-9F0F-BDD163DB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Bildplatzhalter">
            <a:extLst>
              <a:ext uri="{FF2B5EF4-FFF2-40B4-BE49-F238E27FC236}">
                <a16:creationId xmlns:a16="http://schemas.microsoft.com/office/drawing/2014/main" id="{49AF931B-97D5-4778-8F3A-4F2BB214CAE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5720"/>
            <a:ext cx="12192000" cy="6753600"/>
          </a:xfrm>
          <a:custGeom>
            <a:avLst/>
            <a:gdLst>
              <a:gd name="connsiteX0" fmla="*/ 0 w 12192000"/>
              <a:gd name="connsiteY0" fmla="*/ 0 h 6753600"/>
              <a:gd name="connsiteX1" fmla="*/ 12192000 w 12192000"/>
              <a:gd name="connsiteY1" fmla="*/ 0 h 6753600"/>
              <a:gd name="connsiteX2" fmla="*/ 12192000 w 12192000"/>
              <a:gd name="connsiteY2" fmla="*/ 6753600 h 6753600"/>
              <a:gd name="connsiteX3" fmla="*/ 0 w 12192000"/>
              <a:gd name="connsiteY3" fmla="*/ 6753600 h 6753600"/>
              <a:gd name="connsiteX4" fmla="*/ 0 w 12192000"/>
              <a:gd name="connsiteY4" fmla="*/ 5134584 h 6753600"/>
              <a:gd name="connsiteX5" fmla="*/ 6350195 w 12192000"/>
              <a:gd name="connsiteY5" fmla="*/ 5134584 h 6753600"/>
              <a:gd name="connsiteX6" fmla="*/ 6574409 w 12192000"/>
              <a:gd name="connsiteY6" fmla="*/ 4910370 h 6753600"/>
              <a:gd name="connsiteX7" fmla="*/ 6574409 w 12192000"/>
              <a:gd name="connsiteY7" fmla="*/ 4013539 h 6753600"/>
              <a:gd name="connsiteX8" fmla="*/ 6350195 w 12192000"/>
              <a:gd name="connsiteY8" fmla="*/ 3789325 h 6753600"/>
              <a:gd name="connsiteX9" fmla="*/ 0 w 12192000"/>
              <a:gd name="connsiteY9" fmla="*/ 3789325 h 675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753600">
                <a:moveTo>
                  <a:pt x="0" y="0"/>
                </a:moveTo>
                <a:lnTo>
                  <a:pt x="12192000" y="0"/>
                </a:lnTo>
                <a:lnTo>
                  <a:pt x="12192000" y="6753600"/>
                </a:lnTo>
                <a:lnTo>
                  <a:pt x="0" y="6753600"/>
                </a:lnTo>
                <a:lnTo>
                  <a:pt x="0" y="5134584"/>
                </a:lnTo>
                <a:lnTo>
                  <a:pt x="6350195" y="5134584"/>
                </a:lnTo>
                <a:cubicBezTo>
                  <a:pt x="6474025" y="5134584"/>
                  <a:pt x="6574409" y="5034200"/>
                  <a:pt x="6574409" y="4910370"/>
                </a:cubicBezTo>
                <a:lnTo>
                  <a:pt x="6574409" y="4013539"/>
                </a:lnTo>
                <a:cubicBezTo>
                  <a:pt x="6574409" y="3889709"/>
                  <a:pt x="6474025" y="3789325"/>
                  <a:pt x="6350195" y="3789325"/>
                </a:cubicBezTo>
                <a:lnTo>
                  <a:pt x="0" y="3789325"/>
                </a:lnTo>
                <a:close/>
              </a:path>
            </a:pathLst>
          </a:custGeo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34BF8D78-90B3-4AEE-AB2C-59260F88FC4F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32000" y="4727421"/>
            <a:ext cx="5760000" cy="324000"/>
          </a:xfrm>
        </p:spPr>
        <p:txBody>
          <a:bodyPr>
            <a:normAutofit/>
          </a:bodyPr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B2CA7E72-0284-4F81-9C40-069BD50C7172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432000" y="3971421"/>
            <a:ext cx="5760000" cy="648000"/>
          </a:xfrm>
        </p:spPr>
        <p:txBody>
          <a:bodyPr anchor="ctr" anchorCtr="0"/>
          <a:lstStyle>
            <a:lvl1pPr algn="r">
              <a:defRPr sz="22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780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trenner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D94B63B3-A392-40D3-8963-3C0FD12C5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9.11.2024</a:t>
            </a:fld>
            <a:endParaRPr lang="de-DE"/>
          </a:p>
        </p:txBody>
      </p:sp>
      <p:sp>
        <p:nvSpPr>
          <p:cNvPr id="5" name="Fußzeilenplatzhalter 4" hidden="1">
            <a:extLst>
              <a:ext uri="{FF2B5EF4-FFF2-40B4-BE49-F238E27FC236}">
                <a16:creationId xmlns:a16="http://schemas.microsoft.com/office/drawing/2014/main" id="{6682FA2E-7791-42B2-B801-4C5C231DB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0938B050-94E8-433A-A1CC-013D93AF7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Hintergrund grau">
            <a:extLst>
              <a:ext uri="{FF2B5EF4-FFF2-40B4-BE49-F238E27FC236}">
                <a16:creationId xmlns:a16="http://schemas.microsoft.com/office/drawing/2014/main" id="{817BE36A-4521-4CF1-B742-C9B9A4F2CB6C}"/>
              </a:ext>
            </a:extLst>
          </p:cNvPr>
          <p:cNvSpPr/>
          <p:nvPr userDrawn="1"/>
        </p:nvSpPr>
        <p:spPr>
          <a:xfrm>
            <a:off x="0" y="36000"/>
            <a:ext cx="12192000" cy="675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6C8EC337-E519-4123-90C0-FD6DC599E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960000"/>
            <a:ext cx="11196000" cy="1080000"/>
          </a:xfrm>
        </p:spPr>
        <p:txBody>
          <a:bodyPr anchor="t" anchorCtr="0">
            <a:noAutofit/>
          </a:bodyPr>
          <a:lstStyle>
            <a:lvl1pPr>
              <a:defRPr sz="2200" b="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Nummer">
            <a:extLst>
              <a:ext uri="{FF2B5EF4-FFF2-40B4-BE49-F238E27FC236}">
                <a16:creationId xmlns:a16="http://schemas.microsoft.com/office/drawing/2014/main" id="{62AAC065-756E-4976-AEDC-42BDEFDA5C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2000" y="2340000"/>
            <a:ext cx="2160000" cy="1440000"/>
          </a:xfrm>
        </p:spPr>
        <p:txBody>
          <a:bodyPr anchor="b" anchorCtr="0">
            <a:noAutofit/>
          </a:bodyPr>
          <a:lstStyle>
            <a:lvl1pPr marL="0" indent="0">
              <a:buNone/>
              <a:defRPr sz="8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8" name="Claim Hintergrund">
            <a:extLst>
              <a:ext uri="{FF2B5EF4-FFF2-40B4-BE49-F238E27FC236}">
                <a16:creationId xmlns:a16="http://schemas.microsoft.com/office/drawing/2014/main" id="{FB0417D1-0B5A-4009-85BB-B587E5967EAE}"/>
              </a:ext>
            </a:extLst>
          </p:cNvPr>
          <p:cNvSpPr/>
          <p:nvPr userDrawn="1"/>
        </p:nvSpPr>
        <p:spPr>
          <a:xfrm rot="16200000">
            <a:off x="10151952" y="4663061"/>
            <a:ext cx="298916" cy="3781187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10" name="Logo Hintergrund">
            <a:extLst>
              <a:ext uri="{FF2B5EF4-FFF2-40B4-BE49-F238E27FC236}">
                <a16:creationId xmlns:a16="http://schemas.microsoft.com/office/drawing/2014/main" id="{2F900E76-524B-4549-A6F7-DFBE4FA2CB35}"/>
              </a:ext>
            </a:extLst>
          </p:cNvPr>
          <p:cNvSpPr/>
          <p:nvPr userDrawn="1"/>
        </p:nvSpPr>
        <p:spPr>
          <a:xfrm rot="16200000">
            <a:off x="10471146" y="-146393"/>
            <a:ext cx="1212001" cy="2229708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05A0F021-A5F2-41EC-822C-CCCF60E45F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411" y="451585"/>
            <a:ext cx="1216431" cy="104474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8400" y="6484290"/>
            <a:ext cx="3099600" cy="13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629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sch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 hidden="1">
            <a:extLst>
              <a:ext uri="{FF2B5EF4-FFF2-40B4-BE49-F238E27FC236}">
                <a16:creationId xmlns:a16="http://schemas.microsoft.com/office/drawing/2014/main" id="{EAE05CFE-D1E0-4067-B769-59CA0FAD8B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24C36B72-DF99-4E2E-9D90-D84A8526CB9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9.11.2024</a:t>
            </a:fld>
            <a:endParaRPr lang="de-DE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86049D49-4729-4B4E-A012-713AB8784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Hintergrund grau">
            <a:extLst>
              <a:ext uri="{FF2B5EF4-FFF2-40B4-BE49-F238E27FC236}">
                <a16:creationId xmlns:a16="http://schemas.microsoft.com/office/drawing/2014/main" id="{C375B365-C85D-4E05-A878-6A245D003021}"/>
              </a:ext>
            </a:extLst>
          </p:cNvPr>
          <p:cNvSpPr/>
          <p:nvPr userDrawn="1"/>
        </p:nvSpPr>
        <p:spPr>
          <a:xfrm>
            <a:off x="0" y="36000"/>
            <a:ext cx="12192000" cy="675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platzhalter">
            <a:extLst>
              <a:ext uri="{FF2B5EF4-FFF2-40B4-BE49-F238E27FC236}">
                <a16:creationId xmlns:a16="http://schemas.microsoft.com/office/drawing/2014/main" id="{16DC0AD2-EB6F-4AE6-9070-FC898133DD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40000"/>
            <a:ext cx="11340000" cy="576000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200"/>
            </a:lvl1pPr>
            <a:lvl2pPr marL="269875" indent="0" algn="ctr">
              <a:buNone/>
              <a:defRPr/>
            </a:lvl2pPr>
            <a:lvl3pPr marL="538163" indent="0" algn="ctr">
              <a:buNone/>
              <a:defRPr/>
            </a:lvl3pPr>
            <a:lvl4pPr marL="808037" indent="0" algn="ctr">
              <a:buNone/>
              <a:defRPr/>
            </a:lvl4pPr>
            <a:lvl5pPr marL="1076325" indent="0" algn="ctr">
              <a:buNone/>
              <a:defRPr/>
            </a:lvl5pPr>
          </a:lstStyle>
          <a:p>
            <a:pPr lvl="0"/>
            <a:r>
              <a:rPr lang="de-DE"/>
              <a:t>Text einfügen</a:t>
            </a:r>
          </a:p>
        </p:txBody>
      </p:sp>
    </p:spTree>
    <p:extLst>
      <p:ext uri="{BB962C8B-B14F-4D97-AF65-F5344CB8AC3E}">
        <p14:creationId xmlns:p14="http://schemas.microsoft.com/office/powerpoint/2010/main" val="824477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8005C70-C605-417C-9799-9AE586FB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000" y="6415801"/>
            <a:ext cx="1080000" cy="288000"/>
          </a:xfrm>
        </p:spPr>
        <p:txBody>
          <a:bodyPr/>
          <a:lstStyle/>
          <a:p>
            <a:fld id="{D5AB435E-3C94-4CD7-A989-DA0438929F26}" type="datetimeFigureOut">
              <a:rPr lang="de-DE" smtClean="0"/>
              <a:t>29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548880-F123-4D28-9F4C-698BD292A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96000" y="6415801"/>
            <a:ext cx="3960000" cy="2880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1E65B65-48FA-4936-8C3F-D2E616A09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1999" y="6415801"/>
            <a:ext cx="540000" cy="288000"/>
          </a:xfrm>
        </p:spPr>
        <p:txBody>
          <a:bodyPr/>
          <a:lstStyle>
            <a:lvl1pPr algn="l">
              <a:defRPr/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">
            <a:extLst>
              <a:ext uri="{FF2B5EF4-FFF2-40B4-BE49-F238E27FC236}">
                <a16:creationId xmlns:a16="http://schemas.microsoft.com/office/drawing/2014/main" id="{E63F3A15-8535-47BE-A479-18858F0ED6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1619250"/>
            <a:ext cx="756000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752E6A6-6618-4E1F-AE9C-6804AE554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8" name="Stichwort">
            <a:extLst>
              <a:ext uri="{FF2B5EF4-FFF2-40B4-BE49-F238E27FC236}">
                <a16:creationId xmlns:a16="http://schemas.microsoft.com/office/drawing/2014/main" id="{2331AB09-0786-424A-BA9D-4E043F5297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1803474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8005C70-C605-417C-9799-9AE586FB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000" y="6415801"/>
            <a:ext cx="1080000" cy="288000"/>
          </a:xfrm>
        </p:spPr>
        <p:txBody>
          <a:bodyPr/>
          <a:lstStyle/>
          <a:p>
            <a:fld id="{D5AB435E-3C94-4CD7-A989-DA0438929F26}" type="datetimeFigureOut">
              <a:rPr lang="de-DE" smtClean="0"/>
              <a:t>29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548880-F123-4D28-9F4C-698BD292A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96000" y="6415801"/>
            <a:ext cx="3960000" cy="2880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1E65B65-48FA-4936-8C3F-D2E616A09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1999" y="6415801"/>
            <a:ext cx="540000" cy="288000"/>
          </a:xfrm>
        </p:spPr>
        <p:txBody>
          <a:bodyPr/>
          <a:lstStyle>
            <a:lvl1pPr algn="l">
              <a:defRPr/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241114C2-A542-457C-B22F-0B3F048C7F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620000"/>
            <a:ext cx="11196000" cy="468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752E6A6-6618-4E1F-AE9C-6804AE554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8" name="Stichwort">
            <a:extLst>
              <a:ext uri="{FF2B5EF4-FFF2-40B4-BE49-F238E27FC236}">
                <a16:creationId xmlns:a16="http://schemas.microsoft.com/office/drawing/2014/main" id="{2331AB09-0786-424A-BA9D-4E043F5297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3667586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D1C0D7-B758-420D-92C7-F89D369C9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9.1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99E6480-0AC2-4D3C-AC73-F9FAD0B48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2E19CC-ED9F-4FBC-BFFC-1F550A5B2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Inhaltsplatzhalter rechts">
            <a:extLst>
              <a:ext uri="{FF2B5EF4-FFF2-40B4-BE49-F238E27FC236}">
                <a16:creationId xmlns:a16="http://schemas.microsoft.com/office/drawing/2014/main" id="{5D71B8D1-3235-4C5D-A368-ADE4325DCE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20000" y="1620000"/>
            <a:ext cx="5508000" cy="468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43BE870D-015C-4131-895C-F3BBE9E211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999" y="1620000"/>
            <a:ext cx="5508000" cy="468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B1FFD2A-190F-48A7-90A9-7C86C7CBB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Stichwort">
            <a:extLst>
              <a:ext uri="{FF2B5EF4-FFF2-40B4-BE49-F238E27FC236}">
                <a16:creationId xmlns:a16="http://schemas.microsoft.com/office/drawing/2014/main" id="{98836C4E-F7E1-4C32-A4F6-85752D082D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26056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5C0FCCF-987B-427E-9C7B-FCAE71F48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9.1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03CE04B-33F2-46D3-A77C-869C81202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6E96AC-2342-4D39-AF1E-79AA46B6D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Inhaltsplatzhalter rechts">
            <a:extLst>
              <a:ext uri="{FF2B5EF4-FFF2-40B4-BE49-F238E27FC236}">
                <a16:creationId xmlns:a16="http://schemas.microsoft.com/office/drawing/2014/main" id="{D5E53E12-3518-4075-8EE3-17CB0062E8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20000" y="2268000"/>
            <a:ext cx="5508000" cy="40327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rechts">
            <a:extLst>
              <a:ext uri="{FF2B5EF4-FFF2-40B4-BE49-F238E27FC236}">
                <a16:creationId xmlns:a16="http://schemas.microsoft.com/office/drawing/2014/main" id="{ADC99EB6-07F6-4EF8-9550-E36BEB527C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20000" y="1620000"/>
            <a:ext cx="5508000" cy="648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links">
            <a:extLst>
              <a:ext uri="{FF2B5EF4-FFF2-40B4-BE49-F238E27FC236}">
                <a16:creationId xmlns:a16="http://schemas.microsoft.com/office/drawing/2014/main" id="{12DBB8EA-3498-43F4-A7DF-839061E47B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998" y="2268000"/>
            <a:ext cx="5508000" cy="40327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links">
            <a:extLst>
              <a:ext uri="{FF2B5EF4-FFF2-40B4-BE49-F238E27FC236}">
                <a16:creationId xmlns:a16="http://schemas.microsoft.com/office/drawing/2014/main" id="{CD500E06-356F-4274-B825-5B7342DD84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620000"/>
            <a:ext cx="5508000" cy="648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C577F8D2-3ADD-4A33-B106-51C617831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Stichwort">
            <a:extLst>
              <a:ext uri="{FF2B5EF4-FFF2-40B4-BE49-F238E27FC236}">
                <a16:creationId xmlns:a16="http://schemas.microsoft.com/office/drawing/2014/main" id="{B27826D3-1AC1-4FD5-8F9D-F320A3B0B3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2215866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92E3EB-EDC8-4955-8E38-D64EEAC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9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0CF3AD-9E60-469A-966C-F1F198F52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51F24-4269-4970-8916-F7093863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Bildplatzhalter">
            <a:extLst>
              <a:ext uri="{FF2B5EF4-FFF2-40B4-BE49-F238E27FC236}">
                <a16:creationId xmlns:a16="http://schemas.microsoft.com/office/drawing/2014/main" id="{53366F6E-4BEE-438B-9C6D-70BBC55E52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16992" y="1622536"/>
            <a:ext cx="7611008" cy="4678252"/>
          </a:xfr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8" name="Textplatzhalter">
            <a:extLst>
              <a:ext uri="{FF2B5EF4-FFF2-40B4-BE49-F238E27FC236}">
                <a16:creationId xmlns:a16="http://schemas.microsoft.com/office/drawing/2014/main" id="{9D8DC7E7-47B4-4527-8443-79B7F79E49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9" y="1619251"/>
            <a:ext cx="3404992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789595F-165C-4C9E-A8A2-60A98DFCA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Stichwort">
            <a:extLst>
              <a:ext uri="{FF2B5EF4-FFF2-40B4-BE49-F238E27FC236}">
                <a16:creationId xmlns:a16="http://schemas.microsoft.com/office/drawing/2014/main" id="{66009246-0C58-4D35-B35C-1DFBC42AC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2878462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03F4E4E-1389-411E-AB6E-4C56D805F9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611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87" imgH="488" progId="TCLayout.ActiveDocument.1">
                  <p:embed/>
                </p:oleObj>
              </mc:Choice>
              <mc:Fallback>
                <p:oleObj name="think-cell Folie" r:id="rId17" imgW="487" imgH="488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03F4E4E-1389-411E-AB6E-4C56D805F9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C80EA2-B126-406A-A4EA-C5EE0B8CAE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6000" y="6415801"/>
            <a:ext cx="396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FF88B89-200F-425E-97FA-D7486A16F6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000" y="6415801"/>
            <a:ext cx="108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9.11.2024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0FEA8A-1DB2-441D-9CA5-28BAA6A10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1999" y="6415801"/>
            <a:ext cx="54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1" name="Graue Linie unten">
            <a:extLst>
              <a:ext uri="{FF2B5EF4-FFF2-40B4-BE49-F238E27FC236}">
                <a16:creationId xmlns:a16="http://schemas.microsoft.com/office/drawing/2014/main" id="{9FC8B64B-1439-4A0B-AB6B-E7950A895B94}"/>
              </a:ext>
            </a:extLst>
          </p:cNvPr>
          <p:cNvCxnSpPr/>
          <p:nvPr userDrawn="1"/>
        </p:nvCxnSpPr>
        <p:spPr>
          <a:xfrm>
            <a:off x="-7200" y="6840000"/>
            <a:ext cx="121968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Rote Linie unten">
            <a:extLst>
              <a:ext uri="{FF2B5EF4-FFF2-40B4-BE49-F238E27FC236}">
                <a16:creationId xmlns:a16="http://schemas.microsoft.com/office/drawing/2014/main" id="{DD185ED8-8C56-4EDE-863F-14165415666E}"/>
              </a:ext>
            </a:extLst>
          </p:cNvPr>
          <p:cNvCxnSpPr/>
          <p:nvPr userDrawn="1"/>
        </p:nvCxnSpPr>
        <p:spPr>
          <a:xfrm>
            <a:off x="-7200" y="6804000"/>
            <a:ext cx="121968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raue Linie oben">
            <a:extLst>
              <a:ext uri="{FF2B5EF4-FFF2-40B4-BE49-F238E27FC236}">
                <a16:creationId xmlns:a16="http://schemas.microsoft.com/office/drawing/2014/main" id="{23C01337-7323-4154-8CB8-41A50198C5C5}"/>
              </a:ext>
            </a:extLst>
          </p:cNvPr>
          <p:cNvCxnSpPr/>
          <p:nvPr userDrawn="1"/>
        </p:nvCxnSpPr>
        <p:spPr>
          <a:xfrm>
            <a:off x="-7200" y="18000"/>
            <a:ext cx="121968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Claim Hintergrund">
            <a:extLst>
              <a:ext uri="{FF2B5EF4-FFF2-40B4-BE49-F238E27FC236}">
                <a16:creationId xmlns:a16="http://schemas.microsoft.com/office/drawing/2014/main" id="{E9C5B7F4-3B5F-4CA7-9DAA-F99BA5AA8E3A}"/>
              </a:ext>
            </a:extLst>
          </p:cNvPr>
          <p:cNvSpPr/>
          <p:nvPr userDrawn="1"/>
        </p:nvSpPr>
        <p:spPr>
          <a:xfrm rot="16200000">
            <a:off x="10151952" y="4663061"/>
            <a:ext cx="298916" cy="3781187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de-DE" sz="3200"/>
          </a:p>
        </p:txBody>
      </p:sp>
      <p:sp>
        <p:nvSpPr>
          <p:cNvPr id="7" name="Logo Hintergrund">
            <a:extLst>
              <a:ext uri="{FF2B5EF4-FFF2-40B4-BE49-F238E27FC236}">
                <a16:creationId xmlns:a16="http://schemas.microsoft.com/office/drawing/2014/main" id="{31110460-EA35-4541-A967-4AE9DF20115B}"/>
              </a:ext>
            </a:extLst>
          </p:cNvPr>
          <p:cNvSpPr/>
          <p:nvPr userDrawn="1"/>
        </p:nvSpPr>
        <p:spPr>
          <a:xfrm rot="16200000">
            <a:off x="10471146" y="-146393"/>
            <a:ext cx="1212001" cy="2229708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de-DE" sz="320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5EA63AF3-363C-4CFC-97C4-A6969B317F2D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411" y="451585"/>
            <a:ext cx="1216431" cy="1044743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BA7055-9BDA-4D2B-9EBE-083A332889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620000"/>
            <a:ext cx="11196000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4BDD971-47CF-4E0F-BA7E-9294D1DE1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14" name="empower - DO NOT DELETE!!!" hidden="1">
            <a:extLst>
              <a:ext uri="{FF2B5EF4-FFF2-40B4-BE49-F238E27FC236}">
                <a16:creationId xmlns:a16="http://schemas.microsoft.com/office/drawing/2014/main" id="{6AACB852-6195-4E25-BA98-BC1ABB9ADF3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8400" y="6484290"/>
            <a:ext cx="3099394" cy="13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731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4" r:id="rId2"/>
    <p:sldLayoutId id="2147483651" r:id="rId3"/>
    <p:sldLayoutId id="2147483660" r:id="rId4"/>
    <p:sldLayoutId id="2147483658" r:id="rId5"/>
    <p:sldLayoutId id="2147483656" r:id="rId6"/>
    <p:sldLayoutId id="2147483652" r:id="rId7"/>
    <p:sldLayoutId id="2147483649" r:id="rId8"/>
    <p:sldLayoutId id="2147483661" r:id="rId9"/>
    <p:sldLayoutId id="2147483659" r:id="rId10"/>
    <p:sldLayoutId id="2147483657" r:id="rId11"/>
    <p:sldLayoutId id="2147483653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828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6828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14488" indent="-2682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884363" indent="-2698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682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22525" indent="-2698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0">
          <p15:clr>
            <a:srgbClr val="F26B43"/>
          </p15:clr>
        </p15:guide>
        <p15:guide id="2" pos="272">
          <p15:clr>
            <a:srgbClr val="F26B43"/>
          </p15:clr>
        </p15:guide>
        <p15:guide id="3" pos="7326">
          <p15:clr>
            <a:srgbClr val="F26B43"/>
          </p15:clr>
        </p15:guide>
        <p15:guide id="4" orient="horz" pos="39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stumer">
            <a:extLst>
              <a:ext uri="{FF2B5EF4-FFF2-40B4-BE49-F238E27FC236}">
                <a16:creationId xmlns:a16="http://schemas.microsoft.com/office/drawing/2014/main" id="{4997980C-EDF4-6993-0214-7F325C9B36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>
              <a:highlight>
                <a:srgbClr val="FFFF00"/>
              </a:highlight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B53E254A-21D6-8CA6-5B42-5A255BD3A7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6" name="Bildplatzhalter 15" descr="Ein Bild, das Text, Person, Screenshot, computer enthält.&#10;&#10;Automatisch generierte Beschreibung">
            <a:extLst>
              <a:ext uri="{FF2B5EF4-FFF2-40B4-BE49-F238E27FC236}">
                <a16:creationId xmlns:a16="http://schemas.microsoft.com/office/drawing/2014/main" id="{4A3929BA-9AAC-5F8D-8BD3-EB5F169BAA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6" y="35719"/>
            <a:ext cx="12217996" cy="6822281"/>
          </a:xfrm>
        </p:spPr>
      </p:pic>
      <p:sp>
        <p:nvSpPr>
          <p:cNvPr id="2" name="logo">
            <a:extLst>
              <a:ext uri="{FF2B5EF4-FFF2-40B4-BE49-F238E27FC236}">
                <a16:creationId xmlns:a16="http://schemas.microsoft.com/office/drawing/2014/main" id="{9CF9E0C2-F24A-16F1-01C8-FF7B9ECA437D}"/>
              </a:ext>
            </a:extLst>
          </p:cNvPr>
          <p:cNvSpPr/>
          <p:nvPr/>
        </p:nvSpPr>
        <p:spPr>
          <a:xfrm>
            <a:off x="248814" y="4295421"/>
            <a:ext cx="1754157" cy="59093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Logo des Kund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1F22B0A-73DE-A237-6236-D7C4CA371A42}"/>
              </a:ext>
            </a:extLst>
          </p:cNvPr>
          <p:cNvSpPr txBox="1"/>
          <p:nvPr/>
        </p:nvSpPr>
        <p:spPr>
          <a:xfrm>
            <a:off x="2449286" y="5322655"/>
            <a:ext cx="4134394" cy="612934"/>
          </a:xfrm>
          <a:prstGeom prst="roundRect">
            <a:avLst/>
          </a:prstGeom>
          <a:solidFill>
            <a:schemeClr val="lt1"/>
          </a:solidFill>
        </p:spPr>
        <p:txBody>
          <a:bodyPr wrap="square">
            <a:spAutoFit/>
          </a:bodyPr>
          <a:lstStyle/>
          <a:p>
            <a:pPr algn="r"/>
            <a:r>
              <a:rPr lang="de-DE" sz="1000" dirty="0">
                <a:solidFill>
                  <a:schemeClr val="dk1"/>
                </a:solidFill>
              </a:rPr>
              <a:t>Analyse der Artikel- und Kundenauftragsstruktur, der Durchsatzkennzahlen sowie Lagerbestandsdimensionierung</a:t>
            </a:r>
            <a:r>
              <a:rPr lang="de-DE" sz="1000" dirty="0">
                <a:solidFill>
                  <a:schemeClr val="dk1"/>
                </a:solidFill>
                <a:highlight>
                  <a:srgbClr val="FFFF00"/>
                </a:highlight>
              </a:rPr>
              <a:t> (nicht zutreffendes streichen)</a:t>
            </a:r>
          </a:p>
        </p:txBody>
      </p:sp>
    </p:spTree>
    <p:extLst>
      <p:ext uri="{BB962C8B-B14F-4D97-AF65-F5344CB8AC3E}">
        <p14:creationId xmlns:p14="http://schemas.microsoft.com/office/powerpoint/2010/main" val="33714215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Quellbehälter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F1801FA-917C-E863-BB48-B1178B3BA468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le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2907927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D3D21B42-B5DF-EB79-18A7-8EEE81EB47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19810"/>
              </p:ext>
            </p:extLst>
          </p:nvPr>
        </p:nvGraphicFramePr>
        <p:xfrm>
          <a:off x="11831408" y="42792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69706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Stück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D98E60E6-5EB4-E31A-D104-E3FE91771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514493"/>
              </p:ext>
            </p:extLst>
          </p:nvPr>
        </p:nvGraphicFramePr>
        <p:xfrm>
          <a:off x="11866530" y="4279263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 dirty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le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4819422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7" name="Sprechblase: rechteckig mit abgerundeten Ecken 6">
            <a:extLst>
              <a:ext uri="{FF2B5EF4-FFF2-40B4-BE49-F238E27FC236}">
                <a16:creationId xmlns:a16="http://schemas.microsoft.com/office/drawing/2014/main" id="{AA9680B4-8863-1A90-20DF-88B6D8349762}"/>
              </a:ext>
            </a:extLst>
          </p:cNvPr>
          <p:cNvSpPr/>
          <p:nvPr/>
        </p:nvSpPr>
        <p:spPr>
          <a:xfrm>
            <a:off x="8080621" y="1619250"/>
            <a:ext cx="3420912" cy="271754"/>
          </a:xfrm>
          <a:prstGeom prst="wedgeRoundRectCallout">
            <a:avLst>
              <a:gd name="adj1" fmla="val 30246"/>
              <a:gd name="adj2" fmla="val -80454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„One-Liner“ bilden </a:t>
            </a:r>
            <a:r>
              <a:rPr lang="de-DE" sz="1000" dirty="0" err="1">
                <a:solidFill>
                  <a:srgbClr val="FFFF00"/>
                </a:solidFill>
                <a:latin typeface="Arial" panose="020B0604020202020204" pitchFamily="34" charset="0"/>
              </a:rPr>
              <a:t>xx,xx</a:t>
            </a:r>
            <a:r>
              <a:rPr lang="de-DE" sz="1000" dirty="0">
                <a:solidFill>
                  <a:srgbClr val="FFFF00"/>
                </a:solidFill>
                <a:latin typeface="Arial" panose="020B0604020202020204" pitchFamily="34" charset="0"/>
              </a:rPr>
              <a:t>% </a:t>
            </a: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der Gesamtstückzahl ab…</a:t>
            </a:r>
            <a:endParaRPr lang="de-DE" sz="10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6704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Orderlines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137379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E3F9FE83-3181-328A-C8BC-8806C84AD60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Spitzentag (xx.xx.202x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2A53F02-E7F6-A9E3-F196-AE6F236752AF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9969719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Orderlines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986594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E3F9FE83-3181-328A-C8BC-8806C84AD60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95%Q.-Tag (xx.xx.202x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2A53F02-E7F6-A9E3-F196-AE6F236752AF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41467847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Stück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4403078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Spitzentag (xx.xx.202x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6038E64-8898-8CDD-D6D9-4B87A96221F2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9515850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Stück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341333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95%Q.-Tag (xx.xx.202x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4620A8-3956-AA20-27C4-55C2E9FA222C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18129590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7C48E4B-F498-A064-D74E-2DC8DFA4F9B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7D0D074-361D-FBC8-7FA1-C2D313A86D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8505" y="5538650"/>
            <a:ext cx="3404992" cy="76213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de-DE" sz="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* Gini-Koeffizient ist ein statistisches Standardmaß zur Messung der Ungleichheit einer Verteilung. Er kann Werte zwischen 0 und 1 annehmen. Je höher der Wert, desto stärker ausgeprägt ist die gemessene Ungleichheit…</a:t>
            </a:r>
          </a:p>
          <a:p>
            <a:pPr marL="0" indent="0">
              <a:spcBef>
                <a:spcPts val="0"/>
              </a:spcBef>
              <a:buNone/>
            </a:pPr>
            <a:endParaRPr lang="de-DE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de-DE" sz="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Interpretation: 	0 = Alle SKU haben die gleiche Anzahl an Orderlines,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80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r>
              <a:rPr lang="de-DE" sz="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1 = Alle Orderlines sind einer SKU zuzuordnen.</a:t>
            </a:r>
          </a:p>
          <a:p>
            <a:pPr marL="0" indent="0">
              <a:buNone/>
            </a:pPr>
            <a:endParaRPr lang="de-DE" sz="8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5181DB0-2B58-0113-7830-B041253D7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ikelstruktur – ABC-Analyse: Zugriffshäufigkeit pro Artik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4D51B0-7A2D-8FE6-B170-2824A865A5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E7BA0741-3C6D-451D-9FAD-A8D98102801E}"/>
              </a:ext>
            </a:extLst>
          </p:cNvPr>
          <p:cNvSpPr/>
          <p:nvPr/>
        </p:nvSpPr>
        <p:spPr>
          <a:xfrm>
            <a:off x="4746523" y="2046514"/>
            <a:ext cx="659012" cy="372722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95352529-B96D-EC18-2E1B-A6C2975000D8}"/>
              </a:ext>
            </a:extLst>
          </p:cNvPr>
          <p:cNvSpPr/>
          <p:nvPr/>
        </p:nvSpPr>
        <p:spPr>
          <a:xfrm>
            <a:off x="5405535" y="2046515"/>
            <a:ext cx="1318726" cy="3722564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B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4C111E5-77C1-12F5-3774-9DABE30A2879}"/>
              </a:ext>
            </a:extLst>
          </p:cNvPr>
          <p:cNvSpPr/>
          <p:nvPr/>
        </p:nvSpPr>
        <p:spPr>
          <a:xfrm>
            <a:off x="6724261" y="2044182"/>
            <a:ext cx="3831772" cy="372722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29052BE-EFFD-D177-7244-E1A94BC4E2DD}"/>
              </a:ext>
            </a:extLst>
          </p:cNvPr>
          <p:cNvSpPr/>
          <p:nvPr/>
        </p:nvSpPr>
        <p:spPr>
          <a:xfrm>
            <a:off x="10556033" y="2046514"/>
            <a:ext cx="783771" cy="3727229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D</a:t>
            </a:r>
            <a:endParaRPr lang="de-DE" sz="1200" b="1" i="0" u="none" baseline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1B9E04E2-A8C8-3438-4626-BC0BC9EB96DA}"/>
              </a:ext>
            </a:extLst>
          </p:cNvPr>
          <p:cNvSpPr txBox="1"/>
          <p:nvPr/>
        </p:nvSpPr>
        <p:spPr>
          <a:xfrm>
            <a:off x="7383273" y="2850474"/>
            <a:ext cx="1946989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100" i="0" u="non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Gini-Koeffizient: 0,</a:t>
            </a:r>
            <a:r>
              <a:rPr lang="de-DE" sz="1100" i="0" u="none" baseline="0" dirty="0">
                <a:solidFill>
                  <a:schemeClr val="accent4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xxx</a:t>
            </a:r>
            <a:r>
              <a:rPr lang="de-DE" sz="1100" i="0" u="non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 </a:t>
            </a:r>
          </a:p>
        </p:txBody>
      </p:sp>
      <p:graphicFrame>
        <p:nvGraphicFramePr>
          <p:cNvPr id="58" name="Tabelle 57">
            <a:extLst>
              <a:ext uri="{FF2B5EF4-FFF2-40B4-BE49-F238E27FC236}">
                <a16:creationId xmlns:a16="http://schemas.microsoft.com/office/drawing/2014/main" id="{6E109145-8418-01BD-A625-923FD38719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6088432"/>
              </p:ext>
            </p:extLst>
          </p:nvPr>
        </p:nvGraphicFramePr>
        <p:xfrm>
          <a:off x="6408746" y="3298196"/>
          <a:ext cx="3741052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0937">
                  <a:extLst>
                    <a:ext uri="{9D8B030D-6E8A-4147-A177-3AD203B41FA5}">
                      <a16:colId xmlns:a16="http://schemas.microsoft.com/office/drawing/2014/main" val="3833499755"/>
                    </a:ext>
                  </a:extLst>
                </a:gridCol>
                <a:gridCol w="1132115">
                  <a:extLst>
                    <a:ext uri="{9D8B030D-6E8A-4147-A177-3AD203B41FA5}">
                      <a16:colId xmlns:a16="http://schemas.microsoft.com/office/drawing/2014/main" val="2096331400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1899200754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1184642260"/>
                    </a:ext>
                  </a:extLst>
                </a:gridCol>
              </a:tblGrid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BC-Klasse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OLs im Zeitraum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SKUs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Orderlines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14958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</a:rPr>
                        <a:t>x ≥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x</a:t>
                      </a:r>
                      <a:r>
                        <a:rPr lang="de-DE" sz="1000" b="0" u="none" strike="noStrike" dirty="0">
                          <a:effectLst/>
                        </a:rPr>
                        <a:t> 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6643877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B</a:t>
                      </a:r>
                      <a:endParaRPr lang="de-DE" sz="10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x</a:t>
                      </a:r>
                      <a:r>
                        <a:rPr lang="de-DE" sz="1000" b="0" u="none" strike="noStrike" dirty="0">
                          <a:effectLst/>
                        </a:rPr>
                        <a:t> &gt; x ≥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9877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C</a:t>
                      </a:r>
                      <a:endParaRPr lang="de-DE" sz="10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xx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&gt; x </a:t>
                      </a:r>
                      <a:r>
                        <a:rPr lang="de-DE" sz="1000" b="0" u="none" strike="noStrike" dirty="0">
                          <a:effectLst/>
                        </a:rPr>
                        <a:t>≥ 1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40117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D</a:t>
                      </a:r>
                      <a:endParaRPr lang="de-DE" sz="10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</a:rPr>
                        <a:t>x = 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0,0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6963276"/>
                  </a:ext>
                </a:extLst>
              </a:tr>
            </a:tbl>
          </a:graphicData>
        </a:graphic>
      </p:graphicFrame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43656AC0-A22C-B0C1-90EB-FEC51A6D3B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6483157"/>
              </p:ext>
            </p:extLst>
          </p:nvPr>
        </p:nvGraphicFramePr>
        <p:xfrm>
          <a:off x="428505" y="2049301"/>
          <a:ext cx="3404992" cy="34137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02496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1702496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</a:tblGrid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nteil SK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nteil Orderl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5575277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1360431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7622152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0945241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2111333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9288232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5113703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0602350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CA52F41F-6272-B099-7773-CB54E54E9944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32988169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45F9252-0140-4B96-AF5E-19E99BC039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161E6A53-50CE-8E37-4DC3-E8F3D2FF4B6F}"/>
              </a:ext>
            </a:extLst>
          </p:cNvPr>
          <p:cNvSpPr txBox="1"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0" indent="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700" dirty="0">
                <a:solidFill>
                  <a:srgbClr val="000000"/>
                </a:solidFill>
                <a:latin typeface="Arial" panose="020B0604020202020204" pitchFamily="34" charset="0"/>
              </a:rPr>
              <a:t>* Variationskoeffizient ist das Verhältnis aus Standardabweichung und arithmetischem Mittel ab. Je höher der Wert, desto niedriger ist die Regelmäßigkeit der Nachfrage.</a:t>
            </a:r>
          </a:p>
          <a:p>
            <a:pPr marL="0" indent="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700" dirty="0">
                <a:solidFill>
                  <a:srgbClr val="000000"/>
                </a:solidFill>
                <a:latin typeface="Arial" panose="020B0604020202020204" pitchFamily="34" charset="0"/>
              </a:rPr>
              <a:t>Zur Einordnung: Bei einem klassischen Großhändler liegt der Variationskoeffizient zwischen 0 und 2,5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5181DB0-2B58-0113-7830-B041253D7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ikelstruktur – XYZ-Analyse: Nachfrageregelmäßigkeit pro Artik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4D51B0-7A2D-8FE6-B170-2824A865A5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DB75D0-C1B0-2004-5363-695C5267A347}"/>
              </a:ext>
            </a:extLst>
          </p:cNvPr>
          <p:cNvSpPr/>
          <p:nvPr/>
        </p:nvSpPr>
        <p:spPr>
          <a:xfrm>
            <a:off x="4329404" y="2046515"/>
            <a:ext cx="7165910" cy="429208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X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544578A-5BF7-F5DB-91B2-28E1E3787398}"/>
              </a:ext>
            </a:extLst>
          </p:cNvPr>
          <p:cNvSpPr/>
          <p:nvPr/>
        </p:nvSpPr>
        <p:spPr>
          <a:xfrm>
            <a:off x="4329404" y="2470604"/>
            <a:ext cx="7165910" cy="439543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648EAEF-6B8B-B063-0B09-FAFABB3BDB25}"/>
              </a:ext>
            </a:extLst>
          </p:cNvPr>
          <p:cNvSpPr/>
          <p:nvPr/>
        </p:nvSpPr>
        <p:spPr>
          <a:xfrm>
            <a:off x="4329404" y="2910146"/>
            <a:ext cx="7165910" cy="3248057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Z</a:t>
            </a:r>
            <a:endParaRPr lang="de-DE" sz="1200" b="1" i="0" u="none" baseline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2" name="Tabelle 21">
            <a:extLst>
              <a:ext uri="{FF2B5EF4-FFF2-40B4-BE49-F238E27FC236}">
                <a16:creationId xmlns:a16="http://schemas.microsoft.com/office/drawing/2014/main" id="{7E7C8921-3C6E-55D9-B15F-4B17E9CCF3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203643"/>
              </p:ext>
            </p:extLst>
          </p:nvPr>
        </p:nvGraphicFramePr>
        <p:xfrm>
          <a:off x="431996" y="2621519"/>
          <a:ext cx="3404991" cy="975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69350">
                  <a:extLst>
                    <a:ext uri="{9D8B030D-6E8A-4147-A177-3AD203B41FA5}">
                      <a16:colId xmlns:a16="http://schemas.microsoft.com/office/drawing/2014/main" val="3833499755"/>
                    </a:ext>
                  </a:extLst>
                </a:gridCol>
                <a:gridCol w="1374250">
                  <a:extLst>
                    <a:ext uri="{9D8B030D-6E8A-4147-A177-3AD203B41FA5}">
                      <a16:colId xmlns:a16="http://schemas.microsoft.com/office/drawing/2014/main" val="2096331400"/>
                    </a:ext>
                  </a:extLst>
                </a:gridCol>
                <a:gridCol w="961391">
                  <a:extLst>
                    <a:ext uri="{9D8B030D-6E8A-4147-A177-3AD203B41FA5}">
                      <a16:colId xmlns:a16="http://schemas.microsoft.com/office/drawing/2014/main" val="1899200754"/>
                    </a:ext>
                  </a:extLst>
                </a:gridCol>
              </a:tblGrid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XYZ-Klasse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Variationskoeffizient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SKUs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14958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</a:rPr>
                        <a:t>x ≤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6643877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Y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</a:t>
                      </a:r>
                      <a:r>
                        <a:rPr lang="de-DE" sz="1000" b="0" u="none" strike="noStrike" dirty="0">
                          <a:effectLst/>
                        </a:rPr>
                        <a:t> &lt; x ≤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4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9877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Z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4</a:t>
                      </a:r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&lt; 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40117"/>
                  </a:ext>
                </a:extLst>
              </a:tr>
            </a:tbl>
          </a:graphicData>
        </a:graphic>
      </p:graphicFrame>
      <p:graphicFrame>
        <p:nvGraphicFramePr>
          <p:cNvPr id="23" name="Tabelle 22">
            <a:extLst>
              <a:ext uri="{FF2B5EF4-FFF2-40B4-BE49-F238E27FC236}">
                <a16:creationId xmlns:a16="http://schemas.microsoft.com/office/drawing/2014/main" id="{3947BD09-CC15-6763-DD87-5F791F914F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6271579"/>
              </p:ext>
            </p:extLst>
          </p:nvPr>
        </p:nvGraphicFramePr>
        <p:xfrm>
          <a:off x="432000" y="4022692"/>
          <a:ext cx="3404990" cy="12192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001580">
                  <a:extLst>
                    <a:ext uri="{9D8B030D-6E8A-4147-A177-3AD203B41FA5}">
                      <a16:colId xmlns:a16="http://schemas.microsoft.com/office/drawing/2014/main" val="1899200754"/>
                    </a:ext>
                  </a:extLst>
                </a:gridCol>
                <a:gridCol w="1403410">
                  <a:extLst>
                    <a:ext uri="{9D8B030D-6E8A-4147-A177-3AD203B41FA5}">
                      <a16:colId xmlns:a16="http://schemas.microsoft.com/office/drawing/2014/main" val="1184642260"/>
                    </a:ext>
                  </a:extLst>
                </a:gridCol>
              </a:tblGrid>
              <a:tr h="216514">
                <a:tc gridSpan="2"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Variationskoeffizient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00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8428059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inimum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99755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ittelwert ohne NULL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6643877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edian ohne NULL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98771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aximum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40117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5308EA30-73EC-088A-D292-BCF4CFD07297}"/>
              </a:ext>
            </a:extLst>
          </p:cNvPr>
          <p:cNvSpPr txBox="1"/>
          <p:nvPr/>
        </p:nvSpPr>
        <p:spPr>
          <a:xfrm>
            <a:off x="8210005" y="1278705"/>
            <a:ext cx="2168434" cy="687662"/>
          </a:xfrm>
          <a:prstGeom prst="wedgeRoundRectCallout">
            <a:avLst>
              <a:gd name="adj1" fmla="val 54805"/>
              <a:gd name="adj2" fmla="val -35486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28812094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E12D626-03CD-A4A7-FACB-991DE0A7DF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6DD26B4-C764-7A77-F53F-2C873796560C}"/>
              </a:ext>
            </a:extLst>
          </p:cNvPr>
          <p:cNvSpPr txBox="1"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  <a:noFill/>
        </p:spPr>
        <p:txBody>
          <a:bodyPr vert="horz" wrap="square" lIns="108000" tIns="108000" rIns="108000" bIns="108000" rtlCol="0">
            <a:noAutofit/>
          </a:bodyPr>
          <a:lstStyle/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</a:t>
            </a: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%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der SKUs mit hoher und regelmäßiger Nachfrage umfassen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% der Orderlines (</a:t>
            </a: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X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-Artikel).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Weitere </a:t>
            </a: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SKUs weisen eine hohe jedoch weniger regel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mäßige Nachfrage auf und sind für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Orderlines verantwortlich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Y-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und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Z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)</a:t>
            </a:r>
            <a:endParaRPr lang="de-DE" sz="12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Ebenfalls mit hoher Regelmäßigkeit jedoch geringerem Anteil an Orderlines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OL) werden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BX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 nachgefragt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SKUs)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Lediglich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Orderlines können rund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SKUs zugeordnet werden. Die Nachfrageregelmäßigkeit schwankt bei diesen Artikeln stark.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C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)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SKUs wurden im Betrachtungs-zeitraum gar nicht bestellt.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D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D5E716F-27C5-C1EE-976D-A729707EE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ikelstruktur – ABC-XYZ-Klassifizier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9B80F58-A5AC-C116-E6E4-72DDB8ABC8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FA4FA6C-A705-A2C7-497D-75F9649512FF}"/>
              </a:ext>
            </a:extLst>
          </p:cNvPr>
          <p:cNvSpPr txBox="1"/>
          <p:nvPr/>
        </p:nvSpPr>
        <p:spPr>
          <a:xfrm>
            <a:off x="1488766" y="1402965"/>
            <a:ext cx="2045981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050">
                <a:highlight>
                  <a:srgbClr val="FFFF00"/>
                </a:highlight>
              </a:defRPr>
            </a:lvl1pPr>
          </a:lstStyle>
          <a:p>
            <a:r>
              <a:rPr lang="de-DE" dirty="0"/>
              <a:t>Text anpassen, Auffälligkeiten beschreiben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A7A9873-4E25-8003-6F83-B1C56819447C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21477578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25237ED-FCFC-3BE9-A91C-AAF06D79EC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41417"/>
            <a:ext cx="11196000" cy="4758583"/>
          </a:xfrm>
        </p:spPr>
        <p:txBody>
          <a:bodyPr/>
          <a:lstStyle/>
          <a:p>
            <a:pPr marL="0" indent="0">
              <a:buNone/>
            </a:pPr>
            <a:r>
              <a:rPr lang="de-DE" sz="1200" dirty="0"/>
              <a:t># SKUs </a:t>
            </a:r>
            <a:r>
              <a:rPr lang="de-DE" sz="1200" dirty="0">
                <a:solidFill>
                  <a:schemeClr val="accent4"/>
                </a:solidFill>
              </a:rPr>
              <a:t>behälterfähig</a:t>
            </a:r>
            <a:r>
              <a:rPr lang="de-DE" sz="1200" dirty="0"/>
              <a:t> im Bestand gesamt (</a:t>
            </a:r>
            <a:r>
              <a:rPr lang="de-DE" sz="1200" dirty="0">
                <a:highlight>
                  <a:srgbClr val="FFFF00"/>
                </a:highlight>
              </a:rPr>
              <a:t>xx.xx.202x</a:t>
            </a:r>
            <a:r>
              <a:rPr lang="de-DE" sz="1200" dirty="0"/>
              <a:t>): </a:t>
            </a:r>
            <a:r>
              <a:rPr lang="de-DE" sz="1200" dirty="0" err="1">
                <a:highlight>
                  <a:srgbClr val="FFFF00"/>
                </a:highlight>
              </a:rPr>
              <a:t>xx.xxx</a:t>
            </a:r>
            <a:endParaRPr lang="de-DE" sz="1200" dirty="0">
              <a:highlight>
                <a:srgbClr val="FFFF00"/>
              </a:highlight>
            </a:endParaRPr>
          </a:p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2259C51-2381-EF2F-23B8-0B4FEEB47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Aufteilung nach Behältertyp und Teilu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3AA0BD-20DB-0F92-9831-692E19003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pic>
        <p:nvPicPr>
          <p:cNvPr id="3074" name="Picture 2" descr="Euronormbehälter auf Europalette">
            <a:extLst>
              <a:ext uri="{FF2B5EF4-FFF2-40B4-BE49-F238E27FC236}">
                <a16:creationId xmlns:a16="http://schemas.microsoft.com/office/drawing/2014/main" id="{AF1AF487-741B-BB68-8FE9-831E4C48C0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3232" y="2748344"/>
            <a:ext cx="2574768" cy="2423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E75B697A-DF86-1F12-85BD-C5614B0B4191}"/>
              </a:ext>
            </a:extLst>
          </p:cNvPr>
          <p:cNvSpPr txBox="1"/>
          <p:nvPr/>
        </p:nvSpPr>
        <p:spPr>
          <a:xfrm>
            <a:off x="407987" y="6030000"/>
            <a:ext cx="5758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* Ist-Netto-Bestand, zzgl. Hochrechnung, Lagerluft etc.</a:t>
            </a:r>
          </a:p>
          <a:p>
            <a:r>
              <a:rPr lang="de-DE" sz="800" dirty="0"/>
              <a:t>** Die Anzahl der Behälter wird auf ganze Behälter bzw. Größe der Teilung aufgerundet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9C1A4FAC-65E5-61C3-1C84-84479D643F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519507"/>
              </p:ext>
            </p:extLst>
          </p:nvPr>
        </p:nvGraphicFramePr>
        <p:xfrm>
          <a:off x="407987" y="1925879"/>
          <a:ext cx="8063275" cy="406824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173800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1629825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  <a:gridCol w="1629825">
                  <a:extLst>
                    <a:ext uri="{9D8B030D-6E8A-4147-A177-3AD203B41FA5}">
                      <a16:colId xmlns:a16="http://schemas.microsoft.com/office/drawing/2014/main" val="1676833467"/>
                    </a:ext>
                  </a:extLst>
                </a:gridCol>
                <a:gridCol w="1629825">
                  <a:extLst>
                    <a:ext uri="{9D8B030D-6E8A-4147-A177-3AD203B41FA5}">
                      <a16:colId xmlns:a16="http://schemas.microsoft.com/office/drawing/2014/main" val="3139520358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endParaRPr lang="de-DE" sz="10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chemeClr val="bg1"/>
                          </a:solidFill>
                        </a:rPr>
                        <a:t>Behältertyp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rgbClr val="FFFF00"/>
                          </a:solidFill>
                        </a:rPr>
                        <a:t>B x L x H</a:t>
                      </a:r>
                      <a:endParaRPr lang="de-DE" sz="1000" b="0" kern="1200" dirty="0">
                        <a:solidFill>
                          <a:srgbClr val="FFFF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chemeClr val="bg1"/>
                          </a:solidFill>
                        </a:rPr>
                        <a:t>Behältertyp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rgbClr val="FFFF00"/>
                          </a:solidFill>
                        </a:rPr>
                        <a:t>B x L x H</a:t>
                      </a:r>
                      <a:endParaRPr lang="de-DE" sz="1000" b="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chemeClr val="bg1"/>
                          </a:solidFill>
                        </a:rPr>
                        <a:t>Behältertyp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rgbClr val="FFFF00"/>
                          </a:solidFill>
                        </a:rPr>
                        <a:t>B x L x H</a:t>
                      </a:r>
                      <a:endParaRPr lang="de-DE" sz="1000" b="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fontAlgn="ctr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gesamt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16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78645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8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407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4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6108367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2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7265076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in ganzen Behälter (bei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98495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fontAlgn="ctr"/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360775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(Ansatz ohne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gesamt (Ansatz mit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16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8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4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5045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2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044837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ganze Behälter (bei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6291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878399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Ø Gewicht pro Behälter in [kg]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360104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Gesamtgewicht in [kg]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33398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FE48F39A-D394-BCAB-4842-7EE491FD96AA}"/>
              </a:ext>
            </a:extLst>
          </p:cNvPr>
          <p:cNvSpPr txBox="1"/>
          <p:nvPr/>
        </p:nvSpPr>
        <p:spPr>
          <a:xfrm>
            <a:off x="4974767" y="3959999"/>
            <a:ext cx="349649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200" dirty="0"/>
              <a:t>Je nach Anzahl betrachteter Behältertypen Spalten entfernen oder hinzufügen…</a:t>
            </a:r>
          </a:p>
        </p:txBody>
      </p:sp>
    </p:spTree>
    <p:extLst>
      <p:ext uri="{BB962C8B-B14F-4D97-AF65-F5344CB8AC3E}">
        <p14:creationId xmlns:p14="http://schemas.microsoft.com/office/powerpoint/2010/main" val="1233903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DF4F5A8-80F9-0DB5-BD55-F7B0CA90B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grundl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8559456-8093-DF33-9EA2-B35195664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>
              <a:highlight>
                <a:srgbClr val="FFFF00"/>
              </a:highlight>
            </a:endParaRPr>
          </a:p>
        </p:txBody>
      </p:sp>
      <p:sp>
        <p:nvSpPr>
          <p:cNvPr id="5" name="Textplatzhalter 16">
            <a:extLst>
              <a:ext uri="{FF2B5EF4-FFF2-40B4-BE49-F238E27FC236}">
                <a16:creationId xmlns:a16="http://schemas.microsoft.com/office/drawing/2014/main" id="{D1D7EF1A-75AB-FB3A-C6F0-500051B204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619250"/>
            <a:ext cx="11196638" cy="4681538"/>
          </a:xfrm>
        </p:spPr>
        <p:txBody>
          <a:bodyPr numCol="2">
            <a:normAutofit/>
          </a:bodyPr>
          <a:lstStyle/>
          <a:p>
            <a:r>
              <a:rPr lang="de-DE" sz="1200" dirty="0"/>
              <a:t>Relevanten Daten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00"/>
                </a:highlight>
              </a:rPr>
              <a:t>Tabelle „MatStamm_24.xlsx“ </a:t>
            </a: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 Artikelstammdaten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462950" lvl="3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Filter: alle außer „a“ und „b“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H: „</a:t>
            </a:r>
            <a:r>
              <a:rPr lang="de-DE" sz="1200" dirty="0" err="1">
                <a:highlight>
                  <a:srgbClr val="FFFF00"/>
                </a:highlight>
                <a:sym typeface="Wingdings" panose="05000000000000000000" pitchFamily="2" charset="2"/>
              </a:rPr>
              <a:t>Stk</a:t>
            </a: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/VPE“  Menge pro Verpackungseinheit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Tabelle „Lagerbestand.xlsx“  Bestandsdaten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C: „Menge“  Gesamtbestand pro Artikel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endParaRPr lang="de-DE" sz="1200" dirty="0">
              <a:highlight>
                <a:srgbClr val="FFFF00"/>
              </a:highlight>
              <a:sym typeface="Wingdings" panose="05000000000000000000" pitchFamily="2" charset="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Tabelle „Kundenaufträge_24.xlsx“  Bewegungs- / Auftragsdaten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A </a:t>
            </a:r>
            <a:r>
              <a:rPr lang="de-DE" sz="1200" dirty="0">
                <a:highlight>
                  <a:srgbClr val="FFFF00"/>
                </a:highlight>
              </a:rPr>
              <a:t>„Erstelldatum“ </a:t>
            </a: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 Datum des Auftragseingangs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 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</a:rPr>
              <a:t>Spalte …</a:t>
            </a:r>
            <a:endParaRPr lang="de-DE" sz="12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9DE3BB6-FFAE-9DD5-090E-B6F0438CCE80}"/>
              </a:ext>
            </a:extLst>
          </p:cNvPr>
          <p:cNvSpPr txBox="1"/>
          <p:nvPr/>
        </p:nvSpPr>
        <p:spPr>
          <a:xfrm rot="20697665">
            <a:off x="7739744" y="635960"/>
            <a:ext cx="2351314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Bei Bedarf (viel Inhalt) Folie duplizieren und Inhalte aufteilen</a:t>
            </a:r>
          </a:p>
        </p:txBody>
      </p:sp>
    </p:spTree>
    <p:extLst>
      <p:ext uri="{BB962C8B-B14F-4D97-AF65-F5344CB8AC3E}">
        <p14:creationId xmlns:p14="http://schemas.microsoft.com/office/powerpoint/2010/main" val="21273784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D347819-206E-D1EE-C92F-E87D60534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Verteilung der Behälter nach ABC-XYZ-Klass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30EFB01-657A-C5EC-8136-EB20DAAABF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graphicFrame>
        <p:nvGraphicFramePr>
          <p:cNvPr id="10" name="Bildplatzhalter 9">
            <a:extLst>
              <a:ext uri="{FF2B5EF4-FFF2-40B4-BE49-F238E27FC236}">
                <a16:creationId xmlns:a16="http://schemas.microsoft.com/office/drawing/2014/main" id="{1B7239C6-B96A-3ECF-5F39-6FAB393C32EF}"/>
              </a:ext>
            </a:extLst>
          </p:cNvPr>
          <p:cNvGraphicFramePr>
            <a:graphicFrameLocks noGrp="1"/>
          </p:cNvGraphicFramePr>
          <p:nvPr>
            <p:ph type="pic" sz="quarter" idx="15"/>
            <p:extLst>
              <p:ext uri="{D42A27DB-BD31-4B8C-83A1-F6EECF244321}">
                <p14:modId xmlns:p14="http://schemas.microsoft.com/office/powerpoint/2010/main" val="726042672"/>
              </p:ext>
            </p:extLst>
          </p:nvPr>
        </p:nvGraphicFramePr>
        <p:xfrm>
          <a:off x="431799" y="1622425"/>
          <a:ext cx="11239863" cy="435763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932524">
                  <a:extLst>
                    <a:ext uri="{9D8B030D-6E8A-4147-A177-3AD203B41FA5}">
                      <a16:colId xmlns:a16="http://schemas.microsoft.com/office/drawing/2014/main" val="2204898013"/>
                    </a:ext>
                  </a:extLst>
                </a:gridCol>
                <a:gridCol w="1022661">
                  <a:extLst>
                    <a:ext uri="{9D8B030D-6E8A-4147-A177-3AD203B41FA5}">
                      <a16:colId xmlns:a16="http://schemas.microsoft.com/office/drawing/2014/main" val="3261641156"/>
                    </a:ext>
                  </a:extLst>
                </a:gridCol>
                <a:gridCol w="1022661">
                  <a:extLst>
                    <a:ext uri="{9D8B030D-6E8A-4147-A177-3AD203B41FA5}">
                      <a16:colId xmlns:a16="http://schemas.microsoft.com/office/drawing/2014/main" val="3785125588"/>
                    </a:ext>
                  </a:extLst>
                </a:gridCol>
                <a:gridCol w="1516921">
                  <a:extLst>
                    <a:ext uri="{9D8B030D-6E8A-4147-A177-3AD203B41FA5}">
                      <a16:colId xmlns:a16="http://schemas.microsoft.com/office/drawing/2014/main" val="880202967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1058097098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3612418053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3663860092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3369684214"/>
                    </a:ext>
                  </a:extLst>
                </a:gridCol>
              </a:tblGrid>
              <a:tr h="480862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ABC-XYZ-Klasse</a:t>
                      </a:r>
                      <a:endParaRPr lang="de-DE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chemeClr val="bg1"/>
                          </a:solidFill>
                          <a:effectLst/>
                        </a:rPr>
                        <a:t>#SKUs</a:t>
                      </a:r>
                      <a:endParaRPr lang="de-DE" sz="12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chemeClr val="bg1"/>
                          </a:solidFill>
                          <a:effectLst/>
                        </a:rPr>
                        <a:t>% SKUs</a:t>
                      </a:r>
                      <a:endParaRPr lang="de-DE" sz="12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gesamt</a:t>
                      </a:r>
                      <a:endParaRPr lang="de-DE" sz="12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% Behälter</a:t>
                      </a:r>
                    </a:p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gesamt</a:t>
                      </a:r>
                      <a:endParaRPr lang="de-DE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 x L x 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 x L x 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 x L x H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85054006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A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8383658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Y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0420325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AZ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1725702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B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8835990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BY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8839086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BZ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926513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167868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Y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0651246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Z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4905609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D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5629239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Gesamt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26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3852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C02597C0-2BDA-554D-D1B0-4DBCF8B876E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>
            <a:normAutofit/>
          </a:bodyPr>
          <a:lstStyle/>
          <a:p>
            <a:endParaRPr lang="de-DE" sz="1200" dirty="0"/>
          </a:p>
          <a:p>
            <a:endParaRPr lang="de-DE" sz="1200" dirty="0"/>
          </a:p>
          <a:p>
            <a:r>
              <a:rPr lang="de-DE" sz="1200" dirty="0"/>
              <a:t>Säulendiagramm mit absoluten Behältermengen je Behältertyp und Klas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AAA020-E13D-6D8B-760F-750DC7B56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lt2"/>
          </a:solidFill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de-DE" sz="1200" dirty="0"/>
              <a:t>Kreisdiagramm mit Anteilen Behälter pro ABC-XYZ-Klass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57B4D4D-B4EC-12A0-F0C4-E39B13BF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Verteilung der Behälter nach ABC-XYZ-Klass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ED486-AEB2-2D60-EAA1-D9EBDED7B3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79803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02007954-45DE-AD47-7407-BD6108ECFF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31229" y="1620000"/>
            <a:ext cx="6696771" cy="4680000"/>
          </a:xfrm>
          <a:solidFill>
            <a:schemeClr val="lt2"/>
          </a:solidFill>
        </p:spPr>
        <p:txBody>
          <a:bodyPr anchor="ctr">
            <a:normAutofit/>
          </a:bodyPr>
          <a:lstStyle/>
          <a:p>
            <a:pPr marL="0" indent="0" algn="ctr">
              <a:buNone/>
            </a:pPr>
            <a:endParaRPr lang="de-DE" sz="12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B16F494-FEEE-6BE0-85A2-A64612F63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Verteilung der Anzahl der Behälter pro Artik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6B2A40-F636-DAD6-EFDA-0543EAA853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6D3C7F31-021F-8F54-3B49-56064975BCE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556979787"/>
              </p:ext>
            </p:extLst>
          </p:nvPr>
        </p:nvGraphicFramePr>
        <p:xfrm>
          <a:off x="431800" y="1619250"/>
          <a:ext cx="4251100" cy="441116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22933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777507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  <a:gridCol w="850220">
                  <a:extLst>
                    <a:ext uri="{9D8B030D-6E8A-4147-A177-3AD203B41FA5}">
                      <a16:colId xmlns:a16="http://schemas.microsoft.com/office/drawing/2014/main" val="1676833467"/>
                    </a:ext>
                  </a:extLst>
                </a:gridCol>
                <a:gridCol w="850220">
                  <a:extLst>
                    <a:ext uri="{9D8B030D-6E8A-4147-A177-3AD203B41FA5}">
                      <a16:colId xmlns:a16="http://schemas.microsoft.com/office/drawing/2014/main" val="3139520358"/>
                    </a:ext>
                  </a:extLst>
                </a:gridCol>
                <a:gridCol w="850220">
                  <a:extLst>
                    <a:ext uri="{9D8B030D-6E8A-4147-A177-3AD203B41FA5}">
                      <a16:colId xmlns:a16="http://schemas.microsoft.com/office/drawing/2014/main" val="3234587389"/>
                    </a:ext>
                  </a:extLst>
                </a:gridCol>
              </a:tblGrid>
              <a:tr h="385665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# Behälter pro SKU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# SKU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SKU</a:t>
                      </a:r>
                      <a:endParaRPr lang="de-DE" sz="10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Kum. % SKU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# Behälter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575277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6588925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5243707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41360431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622152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0945241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2111333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9288232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05113703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0602350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504587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0448374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6291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360104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33398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8871338"/>
                  </a:ext>
                </a:extLst>
              </a:tr>
            </a:tbl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549A2623-159A-A291-673C-FE2703235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256031"/>
              </p:ext>
            </p:extLst>
          </p:nvPr>
        </p:nvGraphicFramePr>
        <p:xfrm>
          <a:off x="8590353" y="2152196"/>
          <a:ext cx="3037647" cy="1498872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1849031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1188616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</a:tblGrid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nzahl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ttelwert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r>
                        <a:rPr lang="de-DE" sz="10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tandardabweichung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r>
                        <a:rPr lang="de-DE" sz="10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imum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5%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1038279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0% (Median)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4261039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5%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4037187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aximum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r>
                        <a:rPr lang="de-DE" sz="10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0365123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075C446A-BF7A-427D-EAA6-18B87A0F4206}"/>
              </a:ext>
            </a:extLst>
          </p:cNvPr>
          <p:cNvSpPr txBox="1"/>
          <p:nvPr/>
        </p:nvSpPr>
        <p:spPr>
          <a:xfrm>
            <a:off x="8279614" y="1236975"/>
            <a:ext cx="2168434" cy="687662"/>
          </a:xfrm>
          <a:prstGeom prst="wedgeRoundRectCallout">
            <a:avLst>
              <a:gd name="adj1" fmla="val 53601"/>
              <a:gd name="adj2" fmla="val -27887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1344227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964A53D-BC31-8855-8F51-17F828F05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Anhang: Annahmen und Ablauf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0CCDA5C-321F-74E5-6645-C1F32A3120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F40C02F-46BE-CB7C-C4BD-D8C9498094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619250"/>
            <a:ext cx="11196638" cy="468153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Definition der Rahmenbedingungen</a:t>
            </a:r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Prüfung der Behälterfähigkeit je Artikel</a:t>
            </a:r>
          </a:p>
          <a:p>
            <a:pPr marL="645750" lvl="1" indent="-285750"/>
            <a:r>
              <a:rPr lang="de-DE" sz="1200" dirty="0"/>
              <a:t>Input: Maße und Gewicht der Artikel; Maße und Gewicht der Verpackungseinheit</a:t>
            </a:r>
          </a:p>
          <a:p>
            <a:pPr marL="645750" lvl="1" indent="-285750"/>
            <a:r>
              <a:rPr lang="de-DE" sz="1200" dirty="0"/>
              <a:t>Passt die kleinste Einheit eines Artikels nach Abmessungen in den Behälter?</a:t>
            </a:r>
          </a:p>
          <a:p>
            <a:pPr marL="645750" lvl="1" indent="-285750"/>
            <a:r>
              <a:rPr lang="de-DE" sz="1200" dirty="0"/>
              <a:t>Passt die kleinste Einheit eines Artikels nach Gewicht in den Behäl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Berechnung der Füllmenge pro Behälter </a:t>
            </a:r>
            <a:r>
              <a:rPr lang="de-DE" sz="1200" dirty="0"/>
              <a:t>(für jeden Artikel und alle möglichen Behältertypen)</a:t>
            </a:r>
          </a:p>
          <a:p>
            <a:pPr marL="645750" lvl="1" indent="-285750"/>
            <a:r>
              <a:rPr lang="de-DE" sz="1200" dirty="0"/>
              <a:t>Input: Maße und Gewicht der Artikel; Maße und Gewicht der Verpackungseinheit; Bestandsmenge pro Artikel</a:t>
            </a:r>
          </a:p>
          <a:p>
            <a:pPr marL="645750" lvl="1" indent="-285750"/>
            <a:r>
              <a:rPr lang="de-DE" sz="1200" dirty="0">
                <a:highlight>
                  <a:srgbClr val="FFFF00"/>
                </a:highlight>
              </a:rPr>
              <a:t>ACHTUNG: kein Abzug eines zusätzlichen Sicherheitsfaktors! (100% des Behälterinnenmaß!)</a:t>
            </a:r>
          </a:p>
          <a:p>
            <a:pPr marL="645750" lvl="1" indent="-285750"/>
            <a:r>
              <a:rPr lang="de-DE" sz="1200" dirty="0"/>
              <a:t>Berechnung parallel nach Gewicht und Abmessungen (</a:t>
            </a:r>
            <a:r>
              <a:rPr lang="de-DE" sz="1200" dirty="0">
                <a:highlight>
                  <a:srgbClr val="FFFF00"/>
                </a:highlight>
              </a:rPr>
              <a:t>Artikel können in drei Dimensionen gedreht werden</a:t>
            </a:r>
            <a:r>
              <a:rPr lang="de-DE" sz="1200" dirty="0"/>
              <a:t>)</a:t>
            </a:r>
          </a:p>
          <a:p>
            <a:pPr marL="645750" lvl="1" indent="-285750"/>
            <a:r>
              <a:rPr lang="de-DE" sz="1200" dirty="0"/>
              <a:t>Auswahl des limitierenden Faktors Abmessungen vs. Gewicht</a:t>
            </a:r>
          </a:p>
          <a:p>
            <a:pPr marL="645750" lvl="1" indent="-285750"/>
            <a:r>
              <a:rPr lang="de-DE" sz="1200" dirty="0"/>
              <a:t>Berechnung der Anzahl der Behälter pro Artikel für jeden Behältertyp</a:t>
            </a:r>
          </a:p>
          <a:p>
            <a:pPr marL="645750" lvl="1" indent="-285750"/>
            <a:endParaRPr lang="de-DE" sz="1200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72AFB4B0-C90B-E3F7-C589-EB25D0C7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31718"/>
              </p:ext>
            </p:extLst>
          </p:nvPr>
        </p:nvGraphicFramePr>
        <p:xfrm>
          <a:off x="702023" y="1945640"/>
          <a:ext cx="10725565" cy="104575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06070">
                  <a:extLst>
                    <a:ext uri="{9D8B030D-6E8A-4147-A177-3AD203B41FA5}">
                      <a16:colId xmlns:a16="http://schemas.microsoft.com/office/drawing/2014/main" val="3867228272"/>
                    </a:ext>
                  </a:extLst>
                </a:gridCol>
                <a:gridCol w="1993982">
                  <a:extLst>
                    <a:ext uri="{9D8B030D-6E8A-4147-A177-3AD203B41FA5}">
                      <a16:colId xmlns:a16="http://schemas.microsoft.com/office/drawing/2014/main" val="2039451437"/>
                    </a:ext>
                  </a:extLst>
                </a:gridCol>
                <a:gridCol w="1996984">
                  <a:extLst>
                    <a:ext uri="{9D8B030D-6E8A-4147-A177-3AD203B41FA5}">
                      <a16:colId xmlns:a16="http://schemas.microsoft.com/office/drawing/2014/main" val="3102653450"/>
                    </a:ext>
                  </a:extLst>
                </a:gridCol>
                <a:gridCol w="2509229">
                  <a:extLst>
                    <a:ext uri="{9D8B030D-6E8A-4147-A177-3AD203B41FA5}">
                      <a16:colId xmlns:a16="http://schemas.microsoft.com/office/drawing/2014/main" val="1151296057"/>
                    </a:ext>
                  </a:extLst>
                </a:gridCol>
                <a:gridCol w="2119300">
                  <a:extLst>
                    <a:ext uri="{9D8B030D-6E8A-4147-A177-3AD203B41FA5}">
                      <a16:colId xmlns:a16="http://schemas.microsoft.com/office/drawing/2014/main" val="3743511715"/>
                    </a:ext>
                  </a:extLst>
                </a:gridCol>
              </a:tblGrid>
              <a:tr h="261439"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Behälteraußenmaße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Behälterinnenmaße</a:t>
                      </a:r>
                      <a:endParaRPr lang="de-DE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Max. Gewicht brutto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Max. Gewicht netto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Max. Teilung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2549565"/>
                  </a:ext>
                </a:extLst>
              </a:tr>
              <a:tr h="261439"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650 x 450 x 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608 x 408 x 2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50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~ 46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16-f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2926805"/>
                  </a:ext>
                </a:extLst>
              </a:tr>
              <a:tr h="2614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50 x 450 x 3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08 x 408 x 3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50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~ 45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8-f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0179811"/>
                  </a:ext>
                </a:extLst>
              </a:tr>
              <a:tr h="2614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50 x 450 x 4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08 x 408 x 4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50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~ 45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4-f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45249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15833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964A53D-BC31-8855-8F51-17F828F05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Anhang: Annahmen und Ablauf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0CCDA5C-321F-74E5-6645-C1F32A3120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platzhalter 2">
                <a:extLst>
                  <a:ext uri="{FF2B5EF4-FFF2-40B4-BE49-F238E27FC236}">
                    <a16:creationId xmlns:a16="http://schemas.microsoft.com/office/drawing/2014/main" id="{4ED032FB-5675-AD3A-53AB-D834D41B52A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431800" y="1619250"/>
                <a:ext cx="11196638" cy="4681538"/>
              </a:xfrm>
            </p:spPr>
            <p:txBody>
              <a:bodyPr>
                <a:norm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200" b="1" u="sng" dirty="0">
                  <a:latin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200" b="1" u="sng" dirty="0">
                    <a:latin typeface="+mn-lt"/>
                  </a:rPr>
                  <a:t>Auswahl des optimalen Behältertyps pro Artikel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Input: Maße und Gewicht Artikel / Einheit; Behälterfüllmenge pro Artikel für jeden Behältertypen; Bestand in Behälter pro Artikel für jeden Behältertypen; Definition der max. Teilung je Behältertyp; Grenzvolumen (Das Grenzvolumen eines Artikels beschreibt ab welchem Volumen ein größerer Behälter gewählt werden soll </a:t>
                </a:r>
                <a:r>
                  <a:rPr lang="de-DE" sz="1200" dirty="0">
                    <a:latin typeface="+mn-lt"/>
                    <a:sym typeface="Wingdings" panose="05000000000000000000" pitchFamily="2" charset="2"/>
                  </a:rPr>
                  <a:t> </a:t>
                </a:r>
                <a:r>
                  <a:rPr lang="de-DE" sz="1200" dirty="0">
                    <a:highlight>
                      <a:srgbClr val="FFFF00"/>
                    </a:highlight>
                    <a:latin typeface="+mn-lt"/>
                    <a:sym typeface="Wingdings" panose="05000000000000000000" pitchFamily="2" charset="2"/>
                  </a:rPr>
                  <a:t>1 Liter</a:t>
                </a:r>
                <a:r>
                  <a:rPr lang="de-DE" sz="1200" dirty="0">
                    <a:latin typeface="+mn-lt"/>
                  </a:rPr>
                  <a:t>)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Es werden folgende Aspekte geprüft: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Gewichtslimit erreicht?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Behälterfüllmenge des nächstgrößeren Behälters &gt; des bereits ausgewählten Behälters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Volumen Stück / Einheit &gt; Grenzvolumen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Gesamtbestand &gt;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2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𝑚𝑎𝑥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.  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𝑇𝑒𝑖𝑙𝑢𝑛𝑔</m:t>
                        </m:r>
                      </m:den>
                    </m:f>
                  </m:oMath>
                </a14:m>
                <a:r>
                  <a:rPr lang="de-DE" sz="1200" dirty="0">
                    <a:latin typeface="+mn-lt"/>
                  </a:rPr>
                  <a:t>  und nächst größerer Behältertyp führt zu einer Reduktion der Behälteranzahl (Die max. Teilung wird eingangs  für jeden Behältertyp definiert)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Falls ALLE der Bedingungen zutreffend sind, wird der nächstgrößere Behältertyp betrachtet, sofern dieser existiert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200" b="1" u="sng" dirty="0">
                    <a:latin typeface="+mn-lt"/>
                  </a:rPr>
                  <a:t>Bestimmung der Gesamtbehälteranzahl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Input: Anzahl der Behälter pro Artikel im optimalen Behältertyp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Der Bestand aller Artikel wird auf die nächstgrößere Teilung gerundet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Der gerundete Bestand aller Artikel wird aufsummiert und ergibt die Gesamtanzahl der benötigten Behälter</a:t>
                </a:r>
              </a:p>
              <a:p>
                <a:pPr marL="645750" lvl="1" indent="-285750"/>
                <a:endParaRPr lang="de-DE" sz="1200" dirty="0">
                  <a:latin typeface="+mn-lt"/>
                </a:endParaRPr>
              </a:p>
              <a:p>
                <a:pPr marL="645750" lvl="1" indent="-285750"/>
                <a:endParaRPr lang="de-DE" sz="1200" dirty="0">
                  <a:latin typeface="+mn-lt"/>
                </a:endParaRPr>
              </a:p>
            </p:txBody>
          </p:sp>
        </mc:Choice>
        <mc:Fallback xmlns="">
          <p:sp>
            <p:nvSpPr>
              <p:cNvPr id="2" name="Textplatzhalter 2">
                <a:extLst>
                  <a:ext uri="{FF2B5EF4-FFF2-40B4-BE49-F238E27FC236}">
                    <a16:creationId xmlns:a16="http://schemas.microsoft.com/office/drawing/2014/main" id="{4ED032FB-5675-AD3A-53AB-D834D41B52A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31800" y="1619250"/>
                <a:ext cx="11196638" cy="4681538"/>
              </a:xfrm>
              <a:blipFill>
                <a:blip r:embed="rId2"/>
                <a:stretch>
                  <a:fillRect l="-817" r="-16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567639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E9229-8DF8-E14A-B2FC-9393E732C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sz="2800"/>
              <a:t>Besten Dank für Ihr Interesse!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CA602A82-5D2D-2C43-9775-E967CCDAC4E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4960929"/>
            <a:ext cx="8435615" cy="753819"/>
          </a:xfrm>
        </p:spPr>
        <p:txBody>
          <a:bodyPr/>
          <a:lstStyle/>
          <a:p>
            <a:r>
              <a:rPr lang="de-DE"/>
              <a:t>Haben Sie Fragen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9433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12BF7A4-431B-A974-B8BF-6CFA9DA49F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DE" sz="1200" dirty="0">
              <a:highlight>
                <a:srgbClr val="FFFF00"/>
              </a:highlight>
            </a:endParaRPr>
          </a:p>
          <a:p>
            <a:r>
              <a:rPr lang="de-DE" sz="1200" dirty="0">
                <a:highlight>
                  <a:srgbClr val="FFFF00"/>
                </a:highlight>
              </a:rPr>
              <a:t>…</a:t>
            </a:r>
          </a:p>
          <a:p>
            <a:r>
              <a:rPr lang="de-DE" sz="1200" dirty="0">
                <a:highlight>
                  <a:srgbClr val="FFFF00"/>
                </a:highlight>
              </a:rPr>
              <a:t>…</a:t>
            </a:r>
          </a:p>
          <a:p>
            <a:r>
              <a:rPr lang="de-DE" sz="1200" dirty="0">
                <a:highlight>
                  <a:srgbClr val="FFFF00"/>
                </a:highlight>
              </a:rPr>
              <a:t>…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CC09AA1-A7E6-2BDE-78FF-9506CED9D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nahm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0DF2780-7420-ACE7-6EB0-BC0C1BA936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39CD9A-1749-48EA-F3F6-F28F5C993B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238"/>
          <a:stretch/>
        </p:blipFill>
        <p:spPr>
          <a:xfrm>
            <a:off x="10431463" y="1620000"/>
            <a:ext cx="1294220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7121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5088B95-670B-0300-AE13-45CC96CDF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sich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202839-4BF5-11D1-26B0-D9808296FC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graphicFrame>
        <p:nvGraphicFramePr>
          <p:cNvPr id="5" name="overview">
            <a:extLst>
              <a:ext uri="{FF2B5EF4-FFF2-40B4-BE49-F238E27FC236}">
                <a16:creationId xmlns:a16="http://schemas.microsoft.com/office/drawing/2014/main" id="{A5E33BD7-B56F-44DA-71F7-58E50054D7A5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920324"/>
              </p:ext>
            </p:extLst>
          </p:nvPr>
        </p:nvGraphicFramePr>
        <p:xfrm>
          <a:off x="431800" y="1619250"/>
          <a:ext cx="6633517" cy="44897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636764">
                  <a:extLst>
                    <a:ext uri="{9D8B030D-6E8A-4147-A177-3AD203B41FA5}">
                      <a16:colId xmlns:a16="http://schemas.microsoft.com/office/drawing/2014/main" val="403191667"/>
                    </a:ext>
                  </a:extLst>
                </a:gridCol>
                <a:gridCol w="1032588">
                  <a:extLst>
                    <a:ext uri="{9D8B030D-6E8A-4147-A177-3AD203B41FA5}">
                      <a16:colId xmlns:a16="http://schemas.microsoft.com/office/drawing/2014/main" val="2349388442"/>
                    </a:ext>
                  </a:extLst>
                </a:gridCol>
                <a:gridCol w="964165">
                  <a:extLst>
                    <a:ext uri="{9D8B030D-6E8A-4147-A177-3AD203B41FA5}">
                      <a16:colId xmlns:a16="http://schemas.microsoft.com/office/drawing/2014/main" val="745595497"/>
                    </a:ext>
                  </a:extLst>
                </a:gridCol>
              </a:tblGrid>
              <a:tr h="28061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Betrachtungszeitraum (Bewegungsdaten):</a:t>
                      </a:r>
                      <a:endParaRPr lang="de-DE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xx.xx.202x – xx.xx.202x</a:t>
                      </a:r>
                      <a:endParaRPr lang="de-DE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806817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Bestand zum Stichtag:</a:t>
                      </a:r>
                      <a:endParaRPr lang="de-DE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xx.xx.202x</a:t>
                      </a:r>
                      <a:endParaRPr lang="de-DE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8131500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558391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# SKUs gesamt: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5433200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SKUs behälterfähig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1121507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KUs im Besta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008964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KUs mit Verbrauch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highlight>
                            <a:srgbClr val="FFFF00"/>
                          </a:highlight>
                        </a:rPr>
                        <a:t>(</a:t>
                      </a:r>
                      <a:r>
                        <a:rPr lang="de-DE" sz="1200" dirty="0" err="1"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27614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KUs im Bestand und mit Verbrau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1383045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4401171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Kundenaufträge gesamt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793978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 dirty="0"/>
                        <a:t># Aufträge rein behälterfähig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804031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Aufträge mit Konsolidierungsaufwa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4760511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Orderlines gesamt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5393903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Orderlines behälterfähig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7022410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Stück gesamt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7256616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tück behälterfäh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highlight>
                            <a:srgbClr val="FFFF00"/>
                          </a:highlight>
                        </a:rPr>
                        <a:t>(</a:t>
                      </a:r>
                      <a:r>
                        <a:rPr lang="de-DE" sz="1200" dirty="0" err="1"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 dirty="0">
                          <a:highlight>
                            <a:srgbClr val="FFFF00"/>
                          </a:highlight>
                        </a:rPr>
                        <a:t>%)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965602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AA8C2D20-7142-B464-9055-0B2E52B05CFC}"/>
              </a:ext>
            </a:extLst>
          </p:cNvPr>
          <p:cNvSpPr txBox="1"/>
          <p:nvPr/>
        </p:nvSpPr>
        <p:spPr>
          <a:xfrm>
            <a:off x="6797662" y="638219"/>
            <a:ext cx="3222171" cy="687662"/>
          </a:xfrm>
          <a:prstGeom prst="wedgeRoundRectCallout">
            <a:avLst>
              <a:gd name="adj1" fmla="val 61432"/>
              <a:gd name="adj2" fmla="val 1390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>
                <a:solidFill>
                  <a:schemeClr val="bg1"/>
                </a:solidFill>
              </a:rPr>
              <a:t>Ggf. Auffälligkeiten beschreiben </a:t>
            </a:r>
          </a:p>
        </p:txBody>
      </p:sp>
      <p:pic>
        <p:nvPicPr>
          <p:cNvPr id="2052" name="Picture 4" descr="StoreBiter® OLS - Gebhardt Group">
            <a:extLst>
              <a:ext uri="{FF2B5EF4-FFF2-40B4-BE49-F238E27FC236}">
                <a16:creationId xmlns:a16="http://schemas.microsoft.com/office/drawing/2014/main" id="{66913C29-822D-1927-ED48-AA206C3B80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22" r="27143"/>
          <a:stretch/>
        </p:blipFill>
        <p:spPr bwMode="auto">
          <a:xfrm>
            <a:off x="7615646" y="1619251"/>
            <a:ext cx="4144554" cy="4492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4985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">
            <a:extLst>
              <a:ext uri="{FF2B5EF4-FFF2-40B4-BE49-F238E27FC236}">
                <a16:creationId xmlns:a16="http://schemas.microsoft.com/office/drawing/2014/main" id="{FBBEA80C-351F-C5BA-88B9-76C6992B91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44DECE8-EBC0-A245-DFA6-54C88355F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auftragsstruk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BD6B981-8E5B-C521-6D20-E9EE135103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A71FD00-786E-874A-F8CA-2293B36D59D6}"/>
              </a:ext>
            </a:extLst>
          </p:cNvPr>
          <p:cNvSpPr txBox="1"/>
          <p:nvPr/>
        </p:nvSpPr>
        <p:spPr>
          <a:xfrm>
            <a:off x="6797662" y="638219"/>
            <a:ext cx="3222171" cy="687662"/>
          </a:xfrm>
          <a:prstGeom prst="wedgeRoundRectCallout">
            <a:avLst>
              <a:gd name="adj1" fmla="val 61432"/>
              <a:gd name="adj2" fmla="val 1390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graphicFrame>
        <p:nvGraphicFramePr>
          <p:cNvPr id="12" name="attribute_table">
            <a:extLst>
              <a:ext uri="{FF2B5EF4-FFF2-40B4-BE49-F238E27FC236}">
                <a16:creationId xmlns:a16="http://schemas.microsoft.com/office/drawing/2014/main" id="{C67D7B0C-EFB6-C95F-218C-F5B5456CC7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791286"/>
              </p:ext>
            </p:extLst>
          </p:nvPr>
        </p:nvGraphicFramePr>
        <p:xfrm>
          <a:off x="6714619" y="4171405"/>
          <a:ext cx="4380971" cy="170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5979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961664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61664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61664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8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8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8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8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 kern="1200">
                          <a:solidFill>
                            <a:schemeClr val="tx1"/>
                          </a:solidFill>
                        </a:rPr>
                        <a:t># Kundenaufträge</a:t>
                      </a:r>
                      <a:endParaRPr lang="de-DE" sz="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# Orderlines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# Stück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Orderlines pro Auftrag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,00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110382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Behälter pro Orderline*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42610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Stück pro Orderline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4037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Stück pro Auftrag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0365123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D213D84A-74B2-E144-B9FD-DFE65F7ACF61}"/>
              </a:ext>
            </a:extLst>
          </p:cNvPr>
          <p:cNvSpPr txBox="1"/>
          <p:nvPr/>
        </p:nvSpPr>
        <p:spPr>
          <a:xfrm>
            <a:off x="407986" y="6429412"/>
            <a:ext cx="11149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Behälter pro Orderline </a:t>
            </a:r>
            <a:r>
              <a:rPr lang="de-DE" sz="800" dirty="0">
                <a:highlight>
                  <a:srgbClr val="FFFF00"/>
                </a:highlight>
                <a:sym typeface="Wingdings" panose="05000000000000000000" pitchFamily="2" charset="2"/>
              </a:rPr>
              <a:t>= Ableitung aus Stückzahl pro Orderline über die Füllmenge pro </a:t>
            </a:r>
            <a:r>
              <a:rPr lang="de-DE" sz="800" dirty="0" err="1">
                <a:highlight>
                  <a:srgbClr val="FFFF00"/>
                </a:highlight>
                <a:sym typeface="Wingdings" panose="05000000000000000000" pitchFamily="2" charset="2"/>
              </a:rPr>
              <a:t>Gridstore</a:t>
            </a:r>
            <a:r>
              <a:rPr lang="de-DE" sz="800" dirty="0">
                <a:highlight>
                  <a:srgbClr val="FFFF00"/>
                </a:highlight>
                <a:sym typeface="Wingdings" panose="05000000000000000000" pitchFamily="2" charset="2"/>
              </a:rPr>
              <a:t>-Behälter (Dimensionierung) </a:t>
            </a:r>
            <a:endParaRPr lang="de-DE" sz="800" dirty="0">
              <a:highlight>
                <a:srgbClr val="FFFF00"/>
              </a:highlight>
            </a:endParaRPr>
          </a:p>
        </p:txBody>
      </p:sp>
      <p:graphicFrame>
        <p:nvGraphicFramePr>
          <p:cNvPr id="3" name="orderlines_per_order">
            <a:extLst>
              <a:ext uri="{FF2B5EF4-FFF2-40B4-BE49-F238E27FC236}">
                <a16:creationId xmlns:a16="http://schemas.microsoft.com/office/drawing/2014/main" id="{10AEB14A-BF46-6BB1-5438-6D1015C4D4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519393"/>
              </p:ext>
            </p:extLst>
          </p:nvPr>
        </p:nvGraphicFramePr>
        <p:xfrm>
          <a:off x="407986" y="1622536"/>
          <a:ext cx="3404992" cy="467825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24049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778447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  <a:gridCol w="851248">
                  <a:extLst>
                    <a:ext uri="{9D8B030D-6E8A-4147-A177-3AD203B41FA5}">
                      <a16:colId xmlns:a16="http://schemas.microsoft.com/office/drawing/2014/main" val="1676833467"/>
                    </a:ext>
                  </a:extLst>
                </a:gridCol>
                <a:gridCol w="851248">
                  <a:extLst>
                    <a:ext uri="{9D8B030D-6E8A-4147-A177-3AD203B41FA5}">
                      <a16:colId xmlns:a16="http://schemas.microsoft.com/office/drawing/2014/main" val="3139520358"/>
                    </a:ext>
                  </a:extLst>
                </a:gridCol>
              </a:tblGrid>
              <a:tr h="420231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Orderlines pro Auftrag</a:t>
                      </a:r>
                      <a:endParaRPr lang="de-DE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Anzahl Aufträge</a:t>
                      </a:r>
                      <a:endParaRPr lang="de-DE" sz="10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Anteil Aufträge</a:t>
                      </a:r>
                      <a:endParaRPr lang="de-DE" sz="10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Kum. % Aufträge</a:t>
                      </a:r>
                      <a:endParaRPr lang="de-DE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575277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6588925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5243707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41360431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622152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0945241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2111333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9288232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05113703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0602350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504587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0448374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6291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360104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33398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57025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6235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onthly_throughpu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Kundenaufträge nach Mona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21C6029-5192-D9D1-11A5-E023459A3BE0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13269350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Kundenaufträge nach Wochenta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5E3D25B-7FA2-0614-A655-FD5B31B03C9B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2587820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Aufträge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D98E60E6-5EB4-E31A-D104-E3FE91771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790374"/>
              </p:ext>
            </p:extLst>
          </p:nvPr>
        </p:nvGraphicFramePr>
        <p:xfrm>
          <a:off x="11866530" y="4279263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 dirty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le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346037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12" name="Sprechblase: rechteckig mit abgerundeten Ecken 11">
            <a:extLst>
              <a:ext uri="{FF2B5EF4-FFF2-40B4-BE49-F238E27FC236}">
                <a16:creationId xmlns:a16="http://schemas.microsoft.com/office/drawing/2014/main" id="{8B224ACE-5A39-E22B-947E-5CC2BCC5D9BF}"/>
              </a:ext>
            </a:extLst>
          </p:cNvPr>
          <p:cNvSpPr/>
          <p:nvPr/>
        </p:nvSpPr>
        <p:spPr>
          <a:xfrm>
            <a:off x="8080621" y="1619250"/>
            <a:ext cx="3420912" cy="271754"/>
          </a:xfrm>
          <a:prstGeom prst="wedgeRoundRectCallout">
            <a:avLst>
              <a:gd name="adj1" fmla="val 30246"/>
              <a:gd name="adj2" fmla="val -80454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„One-Liner“ bilden </a:t>
            </a:r>
            <a:r>
              <a:rPr lang="de-DE" sz="1000" dirty="0" err="1">
                <a:solidFill>
                  <a:srgbClr val="FFFF00"/>
                </a:solidFill>
                <a:latin typeface="Arial" panose="020B0604020202020204" pitchFamily="34" charset="0"/>
              </a:rPr>
              <a:t>xx,xx</a:t>
            </a:r>
            <a:r>
              <a:rPr lang="de-DE" sz="1000" dirty="0">
                <a:solidFill>
                  <a:srgbClr val="FFFF00"/>
                </a:solidFill>
                <a:latin typeface="Arial" panose="020B0604020202020204" pitchFamily="34" charset="0"/>
              </a:rPr>
              <a:t>% </a:t>
            </a: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aller Aufträge… </a:t>
            </a:r>
            <a:endParaRPr lang="de-DE" sz="10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0905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Orderlines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le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27108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D3D21B42-B5DF-EB79-18A7-8EEE81EB47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196432"/>
              </p:ext>
            </p:extLst>
          </p:nvPr>
        </p:nvGraphicFramePr>
        <p:xfrm>
          <a:off x="11831408" y="42792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E3F9FE83-3181-328A-C8BC-8806C84AD60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14" name="Sprechblase: rechteckig mit abgerundeten Ecken 13">
            <a:extLst>
              <a:ext uri="{FF2B5EF4-FFF2-40B4-BE49-F238E27FC236}">
                <a16:creationId xmlns:a16="http://schemas.microsoft.com/office/drawing/2014/main" id="{E0A2576B-E729-1FCA-FE45-23DF152AB079}"/>
              </a:ext>
            </a:extLst>
          </p:cNvPr>
          <p:cNvSpPr/>
          <p:nvPr/>
        </p:nvSpPr>
        <p:spPr>
          <a:xfrm>
            <a:off x="8080621" y="1619250"/>
            <a:ext cx="3420912" cy="271754"/>
          </a:xfrm>
          <a:prstGeom prst="wedgeRoundRectCallout">
            <a:avLst>
              <a:gd name="adj1" fmla="val 30246"/>
              <a:gd name="adj2" fmla="val -80454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„One-Liner“ bilden </a:t>
            </a:r>
            <a:r>
              <a:rPr lang="de-DE" sz="1000" dirty="0" err="1">
                <a:solidFill>
                  <a:srgbClr val="FFFF00"/>
                </a:solidFill>
                <a:latin typeface="Arial" panose="020B0604020202020204" pitchFamily="34" charset="0"/>
              </a:rPr>
              <a:t>xx,xx</a:t>
            </a:r>
            <a:r>
              <a:rPr lang="de-DE" sz="1000" dirty="0">
                <a:solidFill>
                  <a:srgbClr val="FFFF00"/>
                </a:solidFill>
                <a:latin typeface="Arial" panose="020B0604020202020204" pitchFamily="34" charset="0"/>
              </a:rPr>
              <a:t>% </a:t>
            </a: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aller Orderlines… </a:t>
            </a:r>
            <a:endParaRPr lang="de-DE" sz="10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922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26c2441-6c44-49f9-8ce2-083a26539bdc"/>
  <p:tag name="MIO_UPDATE" val="True"/>
  <p:tag name="MIO_VERSION" val="18.03.2021 10:49:56"/>
  <p:tag name="MIO_DBID" val="6306149D-7F97-442A-8AAA-0C3429FE11EA"/>
  <p:tag name="MIO_LASTDOWNLOADED" val="18.07.2022 08:20:35"/>
  <p:tag name="MIO_OBJECTNAME" val="Firmenpräsentation"/>
  <p:tag name="MIO_LASTEDITORNAME" val="Lena Teichmann"/>
  <p:tag name="THINKCELLUNDODONOTDELETE" val="0"/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1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2"/>
  <p:tag name="MIO_HDS" val="True"/>
  <p:tag name="MIO_SKIPVERSION" val="01.01.0001 00:00:00"/>
  <p:tag name="MIO_EKGUID" val="354914ad-d658-4a2a-a836-d4dcc8bd13d1"/>
  <p:tag name="MIO_UPDATE" val="True"/>
  <p:tag name="MIO_VERSION" val="14.04.2020 14:09:15"/>
  <p:tag name="MIO_DBID" val="6306149D-7F97-442A-8AAA-0C3429FE11EA"/>
  <p:tag name="MIO_LASTDOWNLOADED" val="01.10.2020 08:53:59"/>
  <p:tag name="MIO_OBJECTNAME" val="Gebhardt Group"/>
  <p:tag name="MIO_LASTEDITORNAME" val="Verena Kohl "/>
  <p:tag name="MIO_CDID" val="ac7cabe8-35a0-4feb-812e-52862ebd996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54664fb-42a1-472f-9187-ffcb7e422364"/>
  <p:tag name="MIO_UPDATE" val="True"/>
  <p:tag name="MIO_VERSION" val="18.03.2021 10:49:52"/>
  <p:tag name="MIO_DBID" val="6306149D-7F97-442A-8AAA-0C3429FE11EA"/>
  <p:tag name="MIO_LASTDOWNLOADED" val="18.07.2022 08:21:35"/>
  <p:tag name="MIO_OBJECTNAME" val="Haben Sie Fragen?"/>
  <p:tag name="MIO_LASTEDITORNAME" val="Lena Teichmann"/>
  <p:tag name="MIO_STRING_IGNORE_CHECKSUM_FOR_NEXT_SAVE" val="False"/>
  <p:tag name="MIO_GUID" val="0afecc7b-8c05-4d07-9de4-07cfa72cf7c8"/>
</p:tagLst>
</file>

<file path=ppt/theme/theme1.xml><?xml version="1.0" encoding="utf-8"?>
<a:theme xmlns:a="http://schemas.openxmlformats.org/drawingml/2006/main" name="1_Gebhardt Group">
  <a:themeElements>
    <a:clrScheme name="Gebhardt">
      <a:dk1>
        <a:sysClr val="windowText" lastClr="000000"/>
      </a:dk1>
      <a:lt1>
        <a:sysClr val="window" lastClr="FFFFFF"/>
      </a:lt1>
      <a:dk2>
        <a:srgbClr val="E10019"/>
      </a:dk2>
      <a:lt2>
        <a:srgbClr val="DCE1E1"/>
      </a:lt2>
      <a:accent1>
        <a:srgbClr val="46505A"/>
      </a:accent1>
      <a:accent2>
        <a:srgbClr val="788287"/>
      </a:accent2>
      <a:accent3>
        <a:srgbClr val="B4BEC3"/>
      </a:accent3>
      <a:accent4>
        <a:srgbClr val="E10019"/>
      </a:accent4>
      <a:accent5>
        <a:srgbClr val="A5A5A5"/>
      </a:accent5>
      <a:accent6>
        <a:srgbClr val="595959"/>
      </a:accent6>
      <a:hlink>
        <a:srgbClr val="595959"/>
      </a:hlink>
      <a:folHlink>
        <a:srgbClr val="5959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6a78f89-8b3e-4c75-8dc9-ac558a9c8c5d">
      <Terms xmlns="http://schemas.microsoft.com/office/infopath/2007/PartnerControls"/>
    </lcf76f155ced4ddcb4097134ff3c332f>
    <TaxCatchAll xmlns="1840b018-54df-47c8-b15b-c80db276603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E90D6502A267A4BB2035711172A03B1" ma:contentTypeVersion="16" ma:contentTypeDescription="Ein neues Dokument erstellen." ma:contentTypeScope="" ma:versionID="4f8a5a7abf970bd8f91a9a83f0db4143">
  <xsd:schema xmlns:xsd="http://www.w3.org/2001/XMLSchema" xmlns:xs="http://www.w3.org/2001/XMLSchema" xmlns:p="http://schemas.microsoft.com/office/2006/metadata/properties" xmlns:ns2="b6a78f89-8b3e-4c75-8dc9-ac558a9c8c5d" xmlns:ns3="1840b018-54df-47c8-b15b-c80db2766036" targetNamespace="http://schemas.microsoft.com/office/2006/metadata/properties" ma:root="true" ma:fieldsID="3a1e72612c1962f10bc5b45610e61ff1" ns2:_="" ns3:_="">
    <xsd:import namespace="b6a78f89-8b3e-4c75-8dc9-ac558a9c8c5d"/>
    <xsd:import namespace="1840b018-54df-47c8-b15b-c80db27660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a78f89-8b3e-4c75-8dc9-ac558a9c8c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393998b6-969c-4f0f-9284-aeef1a5ecf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40b018-54df-47c8-b15b-c80db2766036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b363d903-33ce-418c-8be6-56c4bc05dffe}" ma:internalName="TaxCatchAll" ma:showField="CatchAllData" ma:web="1840b018-54df-47c8-b15b-c80db276603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AE1F660-8774-4D1E-83CD-8FA69F9092F1}">
  <ds:schemaRefs>
    <ds:schemaRef ds:uri="1840b018-54df-47c8-b15b-c80db2766036"/>
    <ds:schemaRef ds:uri="b6a78f89-8b3e-4c75-8dc9-ac558a9c8c5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351B66B-85ED-4FD7-B0B5-BA046CA4F60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32255A-89BF-47AD-B5E3-F4D3DC2964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6a78f89-8b3e-4c75-8dc9-ac558a9c8c5d"/>
    <ds:schemaRef ds:uri="1840b018-54df-47c8-b15b-c80db27660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88</Words>
  <Application>Microsoft Office PowerPoint</Application>
  <PresentationFormat>Breitbild</PresentationFormat>
  <Paragraphs>939</Paragraphs>
  <Slides>2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rial</vt:lpstr>
      <vt:lpstr>Calibri</vt:lpstr>
      <vt:lpstr>Cambria Math</vt:lpstr>
      <vt:lpstr>Montserrat</vt:lpstr>
      <vt:lpstr>Wingdings</vt:lpstr>
      <vt:lpstr>1_Gebhardt Group</vt:lpstr>
      <vt:lpstr>think-cell Folie</vt:lpstr>
      <vt:lpstr>Datenanalyse</vt:lpstr>
      <vt:lpstr>Datengrundlage</vt:lpstr>
      <vt:lpstr>Annahmen</vt:lpstr>
      <vt:lpstr>Übersicht</vt:lpstr>
      <vt:lpstr>Kundenauftragsstruktur</vt:lpstr>
      <vt:lpstr>Durchsatzkennzahlen – Kundenaufträge nach Monaten</vt:lpstr>
      <vt:lpstr>Durchsatzkennzahlen – Kundenaufträge nach Wochentagen</vt:lpstr>
      <vt:lpstr>Durchsatzkennzahlen – Aufträge pro Tag im Jahresverlauf</vt:lpstr>
      <vt:lpstr>Durchsatzkennzahlen – Orderlines pro Tag im Jahresverlauf</vt:lpstr>
      <vt:lpstr>Durchsatzkennzahlen – Quellbehälter pro Tag im Jahresverlauf</vt:lpstr>
      <vt:lpstr>Durchsatzkennzahlen – Stück pro Tag im Jahresverlauf</vt:lpstr>
      <vt:lpstr>Durchsatzkennzahlen – Orderlines pro Stunde im Tagesverlauf</vt:lpstr>
      <vt:lpstr>Durchsatzkennzahlen – Orderlines pro Stunde im Tagesverlauf</vt:lpstr>
      <vt:lpstr>Durchsatzkennzahlen – Stück pro Stunde im Tagesverlauf</vt:lpstr>
      <vt:lpstr>Durchsatzkennzahlen – Stück pro Stunde im Tagesverlauf</vt:lpstr>
      <vt:lpstr>Artikelstruktur – ABC-Analyse: Zugriffshäufigkeit pro Artikel</vt:lpstr>
      <vt:lpstr>Artikelstruktur – XYZ-Analyse: Nachfrageregelmäßigkeit pro Artikel</vt:lpstr>
      <vt:lpstr>Artikelstruktur – ABC-XYZ-Klassifizierung</vt:lpstr>
      <vt:lpstr>Bestandsdimensionierung – Aufteilung nach Behältertyp und Teilung</vt:lpstr>
      <vt:lpstr>Bestandsdimensionierung – Verteilung der Behälter nach ABC-XYZ-Klassen</vt:lpstr>
      <vt:lpstr>Bestandsdimensionierung – Verteilung der Behälter nach ABC-XYZ-Klassen</vt:lpstr>
      <vt:lpstr>Bestandsdimensionierung – Verteilung der Anzahl der Behälter pro Artikel</vt:lpstr>
      <vt:lpstr>Bestandsdimensionierung – Anhang: Annahmen und Ablauf</vt:lpstr>
      <vt:lpstr>Bestandsdimensionierung – Anhang: Annahmen und Ablauf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na Teichmann</dc:creator>
  <cp:lastModifiedBy>Soliman, Ramez</cp:lastModifiedBy>
  <cp:revision>9</cp:revision>
  <dcterms:created xsi:type="dcterms:W3CDTF">2018-11-05T06:49:14Z</dcterms:created>
  <dcterms:modified xsi:type="dcterms:W3CDTF">2024-11-29T07:4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90D6502A267A4BB2035711172A03B1</vt:lpwstr>
  </property>
  <property fmtid="{D5CDD505-2E9C-101B-9397-08002B2CF9AE}" pid="3" name="MediaServiceImageTags">
    <vt:lpwstr/>
  </property>
</Properties>
</file>